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4.xml" ContentType="application/vnd.openxmlformats-officedocument.presentationml.slide+xml"/>
  <Override PartName="/ppt/slides/slide5.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Masters/slideMaster2.xml" ContentType="application/vnd.openxmlformats-officedocument.presentationml.slideMaster+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slideLayouts/slideLayout18.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25.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24.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notesSlides/notesSlide1.xml" ContentType="application/vnd.openxmlformats-officedocument.presentationml.notesSlide+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9.xml" ContentType="application/vnd.openxmlformats-officedocument.presentationml.slideLayout+xml"/>
  <Override PartName="/ppt/slideLayouts/slideLayout9.xml" ContentType="application/vnd.openxmlformats-officedocument.presentationml.slideLayout+xml"/>
  <Override PartName="/ppt/slideLayouts/slideLayout48.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10.xml" ContentType="application/vnd.openxmlformats-officedocument.presentationml.slideLayout+xml"/>
  <Override PartName="/ppt/slideLayouts/slideLayout49.xml" ContentType="application/vnd.openxmlformats-officedocument.presentationml.slideLayout+xml"/>
  <Override PartName="/ppt/slideLayouts/slideLayout42.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7.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xml" ContentType="application/vnd.openxmlformats-officedocument.theme+xml"/>
  <Override PartName="/ppt/charts/chart1.xml" ContentType="application/vnd.openxmlformats-officedocument.drawingml.chart+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2.xml" ContentType="application/vnd.openxmlformats-officedocument.presentationml.tags+xml"/>
  <Override PartName="/docProps/core.xml" ContentType="application/vnd.openxmlformats-package.core-properties+xml"/>
  <Override PartName="/ppt/tags/tag4.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07" r:id="rId2"/>
  </p:sldMasterIdLst>
  <p:notesMasterIdLst>
    <p:notesMasterId r:id="rId9"/>
  </p:notesMasterIdLst>
  <p:sldIdLst>
    <p:sldId id="431" r:id="rId3"/>
    <p:sldId id="447" r:id="rId4"/>
    <p:sldId id="448" r:id="rId5"/>
    <p:sldId id="449" r:id="rId6"/>
    <p:sldId id="457" r:id="rId7"/>
    <p:sldId id="458" r:id="rId8"/>
  </p:sldIdLst>
  <p:sldSz cx="9906000" cy="6858000" type="A4"/>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D8F3"/>
    <a:srgbClr val="D80F5F"/>
    <a:srgbClr val="FBBB4C"/>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68" autoAdjust="0"/>
    <p:restoredTop sz="94629" autoAdjust="0"/>
  </p:normalViewPr>
  <p:slideViewPr>
    <p:cSldViewPr snapToGrid="0" snapToObjects="1">
      <p:cViewPr>
        <p:scale>
          <a:sx n="90" d="100"/>
          <a:sy n="90" d="100"/>
        </p:scale>
        <p:origin x="-432" y="-24"/>
      </p:cViewPr>
      <p:guideLst>
        <p:guide orient="horz" pos="851"/>
        <p:guide orient="horz" pos="3680"/>
        <p:guide orient="horz" pos="291"/>
        <p:guide orient="horz" pos="1159"/>
        <p:guide orient="horz" pos="2012"/>
        <p:guide orient="horz" pos="2843"/>
        <p:guide orient="horz" pos="189"/>
        <p:guide pos="1254"/>
        <p:guide pos="6009"/>
        <p:guide pos="2982"/>
        <p:guide pos="326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customXml" Target="../customXml/item2.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SDGR</c:v>
                </c:pt>
              </c:strCache>
            </c:strRef>
          </c:tx>
          <c:spPr>
            <a:ln w="28575">
              <a:solidFill>
                <a:schemeClr val="accent1"/>
              </a:solidFill>
              <a:prstDash val="solid"/>
            </a:ln>
          </c:spPr>
          <c:marker>
            <c:symbol val="none"/>
          </c:marker>
          <c:cat>
            <c:numRef>
              <c:f>Sheet1!$A$2:$A$1813</c:f>
              <c:numCache>
                <c:formatCode>m/d/yyyy</c:formatCode>
                <c:ptCount val="1812"/>
                <c:pt idx="0">
                  <c:v>39356</c:v>
                </c:pt>
                <c:pt idx="1">
                  <c:v>39357</c:v>
                </c:pt>
                <c:pt idx="2">
                  <c:v>39358</c:v>
                </c:pt>
                <c:pt idx="3">
                  <c:v>39359</c:v>
                </c:pt>
                <c:pt idx="4">
                  <c:v>39360</c:v>
                </c:pt>
                <c:pt idx="5">
                  <c:v>39363</c:v>
                </c:pt>
                <c:pt idx="6">
                  <c:v>39364</c:v>
                </c:pt>
                <c:pt idx="7">
                  <c:v>39365</c:v>
                </c:pt>
                <c:pt idx="8">
                  <c:v>39366</c:v>
                </c:pt>
                <c:pt idx="9">
                  <c:v>39367</c:v>
                </c:pt>
                <c:pt idx="10">
                  <c:v>39370</c:v>
                </c:pt>
                <c:pt idx="11">
                  <c:v>39371</c:v>
                </c:pt>
                <c:pt idx="12">
                  <c:v>39372</c:v>
                </c:pt>
                <c:pt idx="13">
                  <c:v>39373</c:v>
                </c:pt>
                <c:pt idx="14">
                  <c:v>39374</c:v>
                </c:pt>
                <c:pt idx="15">
                  <c:v>39377</c:v>
                </c:pt>
                <c:pt idx="16">
                  <c:v>39378</c:v>
                </c:pt>
                <c:pt idx="17">
                  <c:v>39379</c:v>
                </c:pt>
                <c:pt idx="18">
                  <c:v>39380</c:v>
                </c:pt>
                <c:pt idx="19">
                  <c:v>39381</c:v>
                </c:pt>
                <c:pt idx="20">
                  <c:v>39384</c:v>
                </c:pt>
                <c:pt idx="21">
                  <c:v>39385</c:v>
                </c:pt>
                <c:pt idx="22">
                  <c:v>39386</c:v>
                </c:pt>
                <c:pt idx="23">
                  <c:v>39387</c:v>
                </c:pt>
                <c:pt idx="24">
                  <c:v>39388</c:v>
                </c:pt>
                <c:pt idx="25">
                  <c:v>39391</c:v>
                </c:pt>
                <c:pt idx="26">
                  <c:v>39392</c:v>
                </c:pt>
                <c:pt idx="27">
                  <c:v>39393</c:v>
                </c:pt>
                <c:pt idx="28">
                  <c:v>39394</c:v>
                </c:pt>
                <c:pt idx="29">
                  <c:v>39395</c:v>
                </c:pt>
                <c:pt idx="30">
                  <c:v>39398</c:v>
                </c:pt>
                <c:pt idx="31">
                  <c:v>39399</c:v>
                </c:pt>
                <c:pt idx="32">
                  <c:v>39400</c:v>
                </c:pt>
                <c:pt idx="33">
                  <c:v>39401</c:v>
                </c:pt>
                <c:pt idx="34">
                  <c:v>39402</c:v>
                </c:pt>
                <c:pt idx="35">
                  <c:v>39405</c:v>
                </c:pt>
                <c:pt idx="36">
                  <c:v>39406</c:v>
                </c:pt>
                <c:pt idx="37">
                  <c:v>39407</c:v>
                </c:pt>
                <c:pt idx="38">
                  <c:v>39408</c:v>
                </c:pt>
                <c:pt idx="39">
                  <c:v>39409</c:v>
                </c:pt>
                <c:pt idx="40">
                  <c:v>39412</c:v>
                </c:pt>
                <c:pt idx="41">
                  <c:v>39413</c:v>
                </c:pt>
                <c:pt idx="42">
                  <c:v>39414</c:v>
                </c:pt>
                <c:pt idx="43">
                  <c:v>39415</c:v>
                </c:pt>
                <c:pt idx="44">
                  <c:v>39416</c:v>
                </c:pt>
                <c:pt idx="45">
                  <c:v>39419</c:v>
                </c:pt>
                <c:pt idx="46">
                  <c:v>39420</c:v>
                </c:pt>
                <c:pt idx="47">
                  <c:v>39421</c:v>
                </c:pt>
                <c:pt idx="48">
                  <c:v>39422</c:v>
                </c:pt>
                <c:pt idx="49">
                  <c:v>39423</c:v>
                </c:pt>
                <c:pt idx="50">
                  <c:v>39426</c:v>
                </c:pt>
                <c:pt idx="51">
                  <c:v>39427</c:v>
                </c:pt>
                <c:pt idx="52">
                  <c:v>39428</c:v>
                </c:pt>
                <c:pt idx="53">
                  <c:v>39429</c:v>
                </c:pt>
                <c:pt idx="54">
                  <c:v>39430</c:v>
                </c:pt>
                <c:pt idx="55">
                  <c:v>39433</c:v>
                </c:pt>
                <c:pt idx="56">
                  <c:v>39434</c:v>
                </c:pt>
                <c:pt idx="57">
                  <c:v>39435</c:v>
                </c:pt>
                <c:pt idx="58">
                  <c:v>39436</c:v>
                </c:pt>
                <c:pt idx="59">
                  <c:v>39437</c:v>
                </c:pt>
                <c:pt idx="60">
                  <c:v>39440</c:v>
                </c:pt>
                <c:pt idx="61">
                  <c:v>39441</c:v>
                </c:pt>
                <c:pt idx="62">
                  <c:v>39442</c:v>
                </c:pt>
                <c:pt idx="63">
                  <c:v>39443</c:v>
                </c:pt>
                <c:pt idx="64">
                  <c:v>39444</c:v>
                </c:pt>
                <c:pt idx="65">
                  <c:v>39447</c:v>
                </c:pt>
                <c:pt idx="66">
                  <c:v>39448</c:v>
                </c:pt>
                <c:pt idx="67">
                  <c:v>39449</c:v>
                </c:pt>
                <c:pt idx="68">
                  <c:v>39450</c:v>
                </c:pt>
                <c:pt idx="69">
                  <c:v>39451</c:v>
                </c:pt>
                <c:pt idx="70">
                  <c:v>39454</c:v>
                </c:pt>
                <c:pt idx="71">
                  <c:v>39455</c:v>
                </c:pt>
                <c:pt idx="72">
                  <c:v>39456</c:v>
                </c:pt>
                <c:pt idx="73">
                  <c:v>39457</c:v>
                </c:pt>
                <c:pt idx="74">
                  <c:v>39458</c:v>
                </c:pt>
                <c:pt idx="75">
                  <c:v>39461</c:v>
                </c:pt>
                <c:pt idx="76">
                  <c:v>39462</c:v>
                </c:pt>
                <c:pt idx="77">
                  <c:v>39463</c:v>
                </c:pt>
                <c:pt idx="78">
                  <c:v>39464</c:v>
                </c:pt>
                <c:pt idx="79">
                  <c:v>39465</c:v>
                </c:pt>
                <c:pt idx="80">
                  <c:v>39468</c:v>
                </c:pt>
                <c:pt idx="81">
                  <c:v>39469</c:v>
                </c:pt>
                <c:pt idx="82">
                  <c:v>39470</c:v>
                </c:pt>
                <c:pt idx="83">
                  <c:v>39471</c:v>
                </c:pt>
                <c:pt idx="84">
                  <c:v>39472</c:v>
                </c:pt>
                <c:pt idx="85">
                  <c:v>39475</c:v>
                </c:pt>
                <c:pt idx="86">
                  <c:v>39476</c:v>
                </c:pt>
                <c:pt idx="87">
                  <c:v>39477</c:v>
                </c:pt>
                <c:pt idx="88">
                  <c:v>39478</c:v>
                </c:pt>
                <c:pt idx="89">
                  <c:v>39479</c:v>
                </c:pt>
                <c:pt idx="90">
                  <c:v>39482</c:v>
                </c:pt>
                <c:pt idx="91">
                  <c:v>39483</c:v>
                </c:pt>
                <c:pt idx="92">
                  <c:v>39484</c:v>
                </c:pt>
                <c:pt idx="93">
                  <c:v>39485</c:v>
                </c:pt>
                <c:pt idx="94">
                  <c:v>39486</c:v>
                </c:pt>
                <c:pt idx="95">
                  <c:v>39489</c:v>
                </c:pt>
                <c:pt idx="96">
                  <c:v>39490</c:v>
                </c:pt>
                <c:pt idx="97">
                  <c:v>39491</c:v>
                </c:pt>
                <c:pt idx="98">
                  <c:v>39492</c:v>
                </c:pt>
                <c:pt idx="99">
                  <c:v>39493</c:v>
                </c:pt>
                <c:pt idx="100">
                  <c:v>39496</c:v>
                </c:pt>
                <c:pt idx="101">
                  <c:v>39497</c:v>
                </c:pt>
                <c:pt idx="102">
                  <c:v>39498</c:v>
                </c:pt>
                <c:pt idx="103">
                  <c:v>39499</c:v>
                </c:pt>
                <c:pt idx="104">
                  <c:v>39500</c:v>
                </c:pt>
                <c:pt idx="105">
                  <c:v>39503</c:v>
                </c:pt>
                <c:pt idx="106">
                  <c:v>39504</c:v>
                </c:pt>
                <c:pt idx="107">
                  <c:v>39505</c:v>
                </c:pt>
                <c:pt idx="108">
                  <c:v>39506</c:v>
                </c:pt>
                <c:pt idx="109">
                  <c:v>39507</c:v>
                </c:pt>
                <c:pt idx="110">
                  <c:v>39510</c:v>
                </c:pt>
                <c:pt idx="111">
                  <c:v>39511</c:v>
                </c:pt>
                <c:pt idx="112">
                  <c:v>39512</c:v>
                </c:pt>
                <c:pt idx="113">
                  <c:v>39513</c:v>
                </c:pt>
                <c:pt idx="114">
                  <c:v>39514</c:v>
                </c:pt>
                <c:pt idx="115">
                  <c:v>39517</c:v>
                </c:pt>
                <c:pt idx="116">
                  <c:v>39518</c:v>
                </c:pt>
                <c:pt idx="117">
                  <c:v>39519</c:v>
                </c:pt>
                <c:pt idx="118">
                  <c:v>39520</c:v>
                </c:pt>
                <c:pt idx="119">
                  <c:v>39521</c:v>
                </c:pt>
                <c:pt idx="120">
                  <c:v>39524</c:v>
                </c:pt>
                <c:pt idx="121">
                  <c:v>39525</c:v>
                </c:pt>
                <c:pt idx="122">
                  <c:v>39526</c:v>
                </c:pt>
                <c:pt idx="123">
                  <c:v>39527</c:v>
                </c:pt>
                <c:pt idx="124">
                  <c:v>39528</c:v>
                </c:pt>
                <c:pt idx="125">
                  <c:v>39531</c:v>
                </c:pt>
                <c:pt idx="126">
                  <c:v>39532</c:v>
                </c:pt>
                <c:pt idx="127">
                  <c:v>39533</c:v>
                </c:pt>
                <c:pt idx="128">
                  <c:v>39534</c:v>
                </c:pt>
                <c:pt idx="129">
                  <c:v>39535</c:v>
                </c:pt>
                <c:pt idx="130">
                  <c:v>39538</c:v>
                </c:pt>
                <c:pt idx="131">
                  <c:v>39539</c:v>
                </c:pt>
                <c:pt idx="132">
                  <c:v>39540</c:v>
                </c:pt>
                <c:pt idx="133">
                  <c:v>39541</c:v>
                </c:pt>
                <c:pt idx="134">
                  <c:v>39542</c:v>
                </c:pt>
                <c:pt idx="135">
                  <c:v>39545</c:v>
                </c:pt>
                <c:pt idx="136">
                  <c:v>39546</c:v>
                </c:pt>
                <c:pt idx="137">
                  <c:v>39547</c:v>
                </c:pt>
                <c:pt idx="138">
                  <c:v>39548</c:v>
                </c:pt>
                <c:pt idx="139">
                  <c:v>39549</c:v>
                </c:pt>
                <c:pt idx="140">
                  <c:v>39552</c:v>
                </c:pt>
                <c:pt idx="141">
                  <c:v>39553</c:v>
                </c:pt>
                <c:pt idx="142">
                  <c:v>39554</c:v>
                </c:pt>
                <c:pt idx="143">
                  <c:v>39555</c:v>
                </c:pt>
                <c:pt idx="144">
                  <c:v>39556</c:v>
                </c:pt>
                <c:pt idx="145">
                  <c:v>39559</c:v>
                </c:pt>
                <c:pt idx="146">
                  <c:v>39560</c:v>
                </c:pt>
                <c:pt idx="147">
                  <c:v>39561</c:v>
                </c:pt>
                <c:pt idx="148">
                  <c:v>39562</c:v>
                </c:pt>
                <c:pt idx="149">
                  <c:v>39563</c:v>
                </c:pt>
                <c:pt idx="150">
                  <c:v>39566</c:v>
                </c:pt>
                <c:pt idx="151">
                  <c:v>39567</c:v>
                </c:pt>
                <c:pt idx="152">
                  <c:v>39568</c:v>
                </c:pt>
                <c:pt idx="153">
                  <c:v>39569</c:v>
                </c:pt>
                <c:pt idx="154">
                  <c:v>39570</c:v>
                </c:pt>
                <c:pt idx="155">
                  <c:v>39573</c:v>
                </c:pt>
                <c:pt idx="156">
                  <c:v>39574</c:v>
                </c:pt>
                <c:pt idx="157">
                  <c:v>39575</c:v>
                </c:pt>
                <c:pt idx="158">
                  <c:v>39576</c:v>
                </c:pt>
                <c:pt idx="159">
                  <c:v>39577</c:v>
                </c:pt>
                <c:pt idx="160">
                  <c:v>39580</c:v>
                </c:pt>
                <c:pt idx="161">
                  <c:v>39581</c:v>
                </c:pt>
                <c:pt idx="162">
                  <c:v>39582</c:v>
                </c:pt>
                <c:pt idx="163">
                  <c:v>39583</c:v>
                </c:pt>
                <c:pt idx="164">
                  <c:v>39584</c:v>
                </c:pt>
                <c:pt idx="165">
                  <c:v>39587</c:v>
                </c:pt>
                <c:pt idx="166">
                  <c:v>39588</c:v>
                </c:pt>
                <c:pt idx="167">
                  <c:v>39589</c:v>
                </c:pt>
                <c:pt idx="168">
                  <c:v>39590</c:v>
                </c:pt>
                <c:pt idx="169">
                  <c:v>39591</c:v>
                </c:pt>
                <c:pt idx="170">
                  <c:v>39594</c:v>
                </c:pt>
                <c:pt idx="171">
                  <c:v>39595</c:v>
                </c:pt>
                <c:pt idx="172">
                  <c:v>39596</c:v>
                </c:pt>
                <c:pt idx="173">
                  <c:v>39597</c:v>
                </c:pt>
                <c:pt idx="174">
                  <c:v>39598</c:v>
                </c:pt>
                <c:pt idx="175">
                  <c:v>39601</c:v>
                </c:pt>
                <c:pt idx="176">
                  <c:v>39602</c:v>
                </c:pt>
                <c:pt idx="177">
                  <c:v>39603</c:v>
                </c:pt>
                <c:pt idx="178">
                  <c:v>39604</c:v>
                </c:pt>
                <c:pt idx="179">
                  <c:v>39605</c:v>
                </c:pt>
                <c:pt idx="180">
                  <c:v>39608</c:v>
                </c:pt>
                <c:pt idx="181">
                  <c:v>39609</c:v>
                </c:pt>
                <c:pt idx="182">
                  <c:v>39610</c:v>
                </c:pt>
                <c:pt idx="183">
                  <c:v>39611</c:v>
                </c:pt>
                <c:pt idx="184">
                  <c:v>39612</c:v>
                </c:pt>
                <c:pt idx="185">
                  <c:v>39615</c:v>
                </c:pt>
                <c:pt idx="186">
                  <c:v>39616</c:v>
                </c:pt>
                <c:pt idx="187">
                  <c:v>39617</c:v>
                </c:pt>
                <c:pt idx="188">
                  <c:v>39618</c:v>
                </c:pt>
                <c:pt idx="189">
                  <c:v>39619</c:v>
                </c:pt>
                <c:pt idx="190">
                  <c:v>39622</c:v>
                </c:pt>
                <c:pt idx="191">
                  <c:v>39623</c:v>
                </c:pt>
                <c:pt idx="192">
                  <c:v>39624</c:v>
                </c:pt>
                <c:pt idx="193">
                  <c:v>39625</c:v>
                </c:pt>
                <c:pt idx="194">
                  <c:v>39626</c:v>
                </c:pt>
                <c:pt idx="195">
                  <c:v>39629</c:v>
                </c:pt>
                <c:pt idx="196">
                  <c:v>39630</c:v>
                </c:pt>
                <c:pt idx="197">
                  <c:v>39631</c:v>
                </c:pt>
                <c:pt idx="198">
                  <c:v>39632</c:v>
                </c:pt>
                <c:pt idx="199">
                  <c:v>39633</c:v>
                </c:pt>
                <c:pt idx="200">
                  <c:v>39636</c:v>
                </c:pt>
                <c:pt idx="201">
                  <c:v>39637</c:v>
                </c:pt>
                <c:pt idx="202">
                  <c:v>39638</c:v>
                </c:pt>
                <c:pt idx="203">
                  <c:v>39639</c:v>
                </c:pt>
                <c:pt idx="204">
                  <c:v>39640</c:v>
                </c:pt>
                <c:pt idx="205">
                  <c:v>39643</c:v>
                </c:pt>
                <c:pt idx="206">
                  <c:v>39644</c:v>
                </c:pt>
                <c:pt idx="207">
                  <c:v>39645</c:v>
                </c:pt>
                <c:pt idx="208">
                  <c:v>39646</c:v>
                </c:pt>
                <c:pt idx="209">
                  <c:v>39647</c:v>
                </c:pt>
                <c:pt idx="210">
                  <c:v>39650</c:v>
                </c:pt>
                <c:pt idx="211">
                  <c:v>39651</c:v>
                </c:pt>
                <c:pt idx="212">
                  <c:v>39652</c:v>
                </c:pt>
                <c:pt idx="213">
                  <c:v>39653</c:v>
                </c:pt>
                <c:pt idx="214">
                  <c:v>39654</c:v>
                </c:pt>
                <c:pt idx="215">
                  <c:v>39657</c:v>
                </c:pt>
                <c:pt idx="216">
                  <c:v>39658</c:v>
                </c:pt>
                <c:pt idx="217">
                  <c:v>39659</c:v>
                </c:pt>
                <c:pt idx="218">
                  <c:v>39660</c:v>
                </c:pt>
                <c:pt idx="219">
                  <c:v>39661</c:v>
                </c:pt>
                <c:pt idx="220">
                  <c:v>39664</c:v>
                </c:pt>
                <c:pt idx="221">
                  <c:v>39665</c:v>
                </c:pt>
                <c:pt idx="222">
                  <c:v>39666</c:v>
                </c:pt>
                <c:pt idx="223">
                  <c:v>39667</c:v>
                </c:pt>
                <c:pt idx="224">
                  <c:v>39668</c:v>
                </c:pt>
                <c:pt idx="225">
                  <c:v>39671</c:v>
                </c:pt>
                <c:pt idx="226">
                  <c:v>39672</c:v>
                </c:pt>
                <c:pt idx="227">
                  <c:v>39673</c:v>
                </c:pt>
                <c:pt idx="228">
                  <c:v>39674</c:v>
                </c:pt>
                <c:pt idx="229">
                  <c:v>39675</c:v>
                </c:pt>
                <c:pt idx="230">
                  <c:v>39678</c:v>
                </c:pt>
                <c:pt idx="231">
                  <c:v>39679</c:v>
                </c:pt>
                <c:pt idx="232">
                  <c:v>39680</c:v>
                </c:pt>
                <c:pt idx="233">
                  <c:v>39681</c:v>
                </c:pt>
                <c:pt idx="234">
                  <c:v>39682</c:v>
                </c:pt>
                <c:pt idx="235">
                  <c:v>39685</c:v>
                </c:pt>
                <c:pt idx="236">
                  <c:v>39686</c:v>
                </c:pt>
                <c:pt idx="237">
                  <c:v>39687</c:v>
                </c:pt>
                <c:pt idx="238">
                  <c:v>39688</c:v>
                </c:pt>
                <c:pt idx="239">
                  <c:v>39689</c:v>
                </c:pt>
                <c:pt idx="240">
                  <c:v>39692</c:v>
                </c:pt>
                <c:pt idx="241">
                  <c:v>39693</c:v>
                </c:pt>
                <c:pt idx="242">
                  <c:v>39694</c:v>
                </c:pt>
                <c:pt idx="243">
                  <c:v>39695</c:v>
                </c:pt>
                <c:pt idx="244">
                  <c:v>39696</c:v>
                </c:pt>
                <c:pt idx="245">
                  <c:v>39699</c:v>
                </c:pt>
                <c:pt idx="246">
                  <c:v>39700</c:v>
                </c:pt>
                <c:pt idx="247">
                  <c:v>39701</c:v>
                </c:pt>
                <c:pt idx="248">
                  <c:v>39702</c:v>
                </c:pt>
                <c:pt idx="249">
                  <c:v>39703</c:v>
                </c:pt>
                <c:pt idx="250">
                  <c:v>39706</c:v>
                </c:pt>
                <c:pt idx="251">
                  <c:v>39707</c:v>
                </c:pt>
                <c:pt idx="252">
                  <c:v>39708</c:v>
                </c:pt>
                <c:pt idx="253">
                  <c:v>39709</c:v>
                </c:pt>
                <c:pt idx="254">
                  <c:v>39710</c:v>
                </c:pt>
                <c:pt idx="255">
                  <c:v>39713</c:v>
                </c:pt>
                <c:pt idx="256">
                  <c:v>39714</c:v>
                </c:pt>
                <c:pt idx="257">
                  <c:v>39715</c:v>
                </c:pt>
                <c:pt idx="258">
                  <c:v>39716</c:v>
                </c:pt>
                <c:pt idx="259">
                  <c:v>39717</c:v>
                </c:pt>
                <c:pt idx="260">
                  <c:v>39720</c:v>
                </c:pt>
                <c:pt idx="261">
                  <c:v>39721</c:v>
                </c:pt>
                <c:pt idx="262">
                  <c:v>39722</c:v>
                </c:pt>
                <c:pt idx="263">
                  <c:v>39723</c:v>
                </c:pt>
                <c:pt idx="264">
                  <c:v>39724</c:v>
                </c:pt>
                <c:pt idx="265">
                  <c:v>39727</c:v>
                </c:pt>
                <c:pt idx="266">
                  <c:v>39728</c:v>
                </c:pt>
                <c:pt idx="267">
                  <c:v>39729</c:v>
                </c:pt>
                <c:pt idx="268">
                  <c:v>39730</c:v>
                </c:pt>
                <c:pt idx="269">
                  <c:v>39731</c:v>
                </c:pt>
                <c:pt idx="270">
                  <c:v>39734</c:v>
                </c:pt>
                <c:pt idx="271">
                  <c:v>39735</c:v>
                </c:pt>
                <c:pt idx="272">
                  <c:v>39736</c:v>
                </c:pt>
                <c:pt idx="273">
                  <c:v>39737</c:v>
                </c:pt>
                <c:pt idx="274">
                  <c:v>39738</c:v>
                </c:pt>
                <c:pt idx="275">
                  <c:v>39741</c:v>
                </c:pt>
                <c:pt idx="276">
                  <c:v>39742</c:v>
                </c:pt>
                <c:pt idx="277">
                  <c:v>39743</c:v>
                </c:pt>
                <c:pt idx="278">
                  <c:v>39744</c:v>
                </c:pt>
                <c:pt idx="279">
                  <c:v>39745</c:v>
                </c:pt>
                <c:pt idx="280">
                  <c:v>39748</c:v>
                </c:pt>
                <c:pt idx="281">
                  <c:v>39749</c:v>
                </c:pt>
                <c:pt idx="282">
                  <c:v>39750</c:v>
                </c:pt>
                <c:pt idx="283">
                  <c:v>39751</c:v>
                </c:pt>
                <c:pt idx="284">
                  <c:v>39752</c:v>
                </c:pt>
                <c:pt idx="285">
                  <c:v>39755</c:v>
                </c:pt>
                <c:pt idx="286">
                  <c:v>39756</c:v>
                </c:pt>
                <c:pt idx="287">
                  <c:v>39757</c:v>
                </c:pt>
                <c:pt idx="288">
                  <c:v>39758</c:v>
                </c:pt>
                <c:pt idx="289">
                  <c:v>39759</c:v>
                </c:pt>
                <c:pt idx="290">
                  <c:v>39762</c:v>
                </c:pt>
                <c:pt idx="291">
                  <c:v>39763</c:v>
                </c:pt>
                <c:pt idx="292">
                  <c:v>39764</c:v>
                </c:pt>
                <c:pt idx="293">
                  <c:v>39765</c:v>
                </c:pt>
                <c:pt idx="294">
                  <c:v>39766</c:v>
                </c:pt>
                <c:pt idx="295">
                  <c:v>39769</c:v>
                </c:pt>
                <c:pt idx="296">
                  <c:v>39770</c:v>
                </c:pt>
                <c:pt idx="297">
                  <c:v>39771</c:v>
                </c:pt>
                <c:pt idx="298">
                  <c:v>39772</c:v>
                </c:pt>
                <c:pt idx="299">
                  <c:v>39773</c:v>
                </c:pt>
                <c:pt idx="300">
                  <c:v>39776</c:v>
                </c:pt>
                <c:pt idx="301">
                  <c:v>39777</c:v>
                </c:pt>
                <c:pt idx="302">
                  <c:v>39778</c:v>
                </c:pt>
                <c:pt idx="303">
                  <c:v>39779</c:v>
                </c:pt>
                <c:pt idx="304">
                  <c:v>39780</c:v>
                </c:pt>
                <c:pt idx="305">
                  <c:v>39783</c:v>
                </c:pt>
                <c:pt idx="306">
                  <c:v>39784</c:v>
                </c:pt>
                <c:pt idx="307">
                  <c:v>39785</c:v>
                </c:pt>
                <c:pt idx="308">
                  <c:v>39786</c:v>
                </c:pt>
                <c:pt idx="309">
                  <c:v>39787</c:v>
                </c:pt>
                <c:pt idx="310">
                  <c:v>39790</c:v>
                </c:pt>
                <c:pt idx="311">
                  <c:v>39791</c:v>
                </c:pt>
                <c:pt idx="312">
                  <c:v>39792</c:v>
                </c:pt>
                <c:pt idx="313">
                  <c:v>39793</c:v>
                </c:pt>
                <c:pt idx="314">
                  <c:v>39794</c:v>
                </c:pt>
                <c:pt idx="315">
                  <c:v>39797</c:v>
                </c:pt>
                <c:pt idx="316">
                  <c:v>39798</c:v>
                </c:pt>
                <c:pt idx="317">
                  <c:v>39799</c:v>
                </c:pt>
                <c:pt idx="318">
                  <c:v>39800</c:v>
                </c:pt>
                <c:pt idx="319">
                  <c:v>39801</c:v>
                </c:pt>
                <c:pt idx="320">
                  <c:v>39804</c:v>
                </c:pt>
                <c:pt idx="321">
                  <c:v>39805</c:v>
                </c:pt>
                <c:pt idx="322">
                  <c:v>39806</c:v>
                </c:pt>
                <c:pt idx="323">
                  <c:v>39807</c:v>
                </c:pt>
                <c:pt idx="324">
                  <c:v>39808</c:v>
                </c:pt>
                <c:pt idx="325">
                  <c:v>39811</c:v>
                </c:pt>
                <c:pt idx="326">
                  <c:v>39812</c:v>
                </c:pt>
                <c:pt idx="327">
                  <c:v>39813</c:v>
                </c:pt>
                <c:pt idx="328">
                  <c:v>39814</c:v>
                </c:pt>
                <c:pt idx="329">
                  <c:v>39815</c:v>
                </c:pt>
                <c:pt idx="330">
                  <c:v>39818</c:v>
                </c:pt>
                <c:pt idx="331">
                  <c:v>39819</c:v>
                </c:pt>
                <c:pt idx="332">
                  <c:v>39820</c:v>
                </c:pt>
                <c:pt idx="333">
                  <c:v>39821</c:v>
                </c:pt>
                <c:pt idx="334">
                  <c:v>39822</c:v>
                </c:pt>
                <c:pt idx="335">
                  <c:v>39825</c:v>
                </c:pt>
                <c:pt idx="336">
                  <c:v>39826</c:v>
                </c:pt>
                <c:pt idx="337">
                  <c:v>39827</c:v>
                </c:pt>
                <c:pt idx="338">
                  <c:v>39828</c:v>
                </c:pt>
                <c:pt idx="339">
                  <c:v>39829</c:v>
                </c:pt>
                <c:pt idx="340">
                  <c:v>39832</c:v>
                </c:pt>
                <c:pt idx="341">
                  <c:v>39833</c:v>
                </c:pt>
                <c:pt idx="342">
                  <c:v>39834</c:v>
                </c:pt>
                <c:pt idx="343">
                  <c:v>39835</c:v>
                </c:pt>
                <c:pt idx="344">
                  <c:v>39836</c:v>
                </c:pt>
                <c:pt idx="345">
                  <c:v>39839</c:v>
                </c:pt>
                <c:pt idx="346">
                  <c:v>39840</c:v>
                </c:pt>
                <c:pt idx="347">
                  <c:v>39841</c:v>
                </c:pt>
                <c:pt idx="348">
                  <c:v>39842</c:v>
                </c:pt>
                <c:pt idx="349">
                  <c:v>39843</c:v>
                </c:pt>
                <c:pt idx="350">
                  <c:v>39846</c:v>
                </c:pt>
                <c:pt idx="351">
                  <c:v>39847</c:v>
                </c:pt>
                <c:pt idx="352">
                  <c:v>39848</c:v>
                </c:pt>
                <c:pt idx="353">
                  <c:v>39849</c:v>
                </c:pt>
                <c:pt idx="354">
                  <c:v>39850</c:v>
                </c:pt>
                <c:pt idx="355">
                  <c:v>39853</c:v>
                </c:pt>
                <c:pt idx="356">
                  <c:v>39854</c:v>
                </c:pt>
                <c:pt idx="357">
                  <c:v>39855</c:v>
                </c:pt>
                <c:pt idx="358">
                  <c:v>39856</c:v>
                </c:pt>
                <c:pt idx="359">
                  <c:v>39857</c:v>
                </c:pt>
                <c:pt idx="360">
                  <c:v>39860</c:v>
                </c:pt>
                <c:pt idx="361">
                  <c:v>39861</c:v>
                </c:pt>
                <c:pt idx="362">
                  <c:v>39862</c:v>
                </c:pt>
                <c:pt idx="363">
                  <c:v>39863</c:v>
                </c:pt>
                <c:pt idx="364">
                  <c:v>39864</c:v>
                </c:pt>
                <c:pt idx="365">
                  <c:v>39867</c:v>
                </c:pt>
                <c:pt idx="366">
                  <c:v>39868</c:v>
                </c:pt>
                <c:pt idx="367">
                  <c:v>39869</c:v>
                </c:pt>
                <c:pt idx="368">
                  <c:v>39870</c:v>
                </c:pt>
                <c:pt idx="369">
                  <c:v>39871</c:v>
                </c:pt>
                <c:pt idx="370">
                  <c:v>39874</c:v>
                </c:pt>
                <c:pt idx="371">
                  <c:v>39875</c:v>
                </c:pt>
                <c:pt idx="372">
                  <c:v>39876</c:v>
                </c:pt>
                <c:pt idx="373">
                  <c:v>39877</c:v>
                </c:pt>
                <c:pt idx="374">
                  <c:v>39878</c:v>
                </c:pt>
                <c:pt idx="375">
                  <c:v>39881</c:v>
                </c:pt>
                <c:pt idx="376">
                  <c:v>39882</c:v>
                </c:pt>
                <c:pt idx="377">
                  <c:v>39883</c:v>
                </c:pt>
                <c:pt idx="378">
                  <c:v>39884</c:v>
                </c:pt>
                <c:pt idx="379">
                  <c:v>39885</c:v>
                </c:pt>
                <c:pt idx="380">
                  <c:v>39888</c:v>
                </c:pt>
                <c:pt idx="381">
                  <c:v>39889</c:v>
                </c:pt>
                <c:pt idx="382">
                  <c:v>39890</c:v>
                </c:pt>
                <c:pt idx="383">
                  <c:v>39891</c:v>
                </c:pt>
                <c:pt idx="384">
                  <c:v>39892</c:v>
                </c:pt>
                <c:pt idx="385">
                  <c:v>39895</c:v>
                </c:pt>
                <c:pt idx="386">
                  <c:v>39896</c:v>
                </c:pt>
                <c:pt idx="387">
                  <c:v>39897</c:v>
                </c:pt>
                <c:pt idx="388">
                  <c:v>39898</c:v>
                </c:pt>
                <c:pt idx="389">
                  <c:v>39899</c:v>
                </c:pt>
                <c:pt idx="390">
                  <c:v>39902</c:v>
                </c:pt>
                <c:pt idx="391">
                  <c:v>39903</c:v>
                </c:pt>
                <c:pt idx="392">
                  <c:v>39904</c:v>
                </c:pt>
                <c:pt idx="393">
                  <c:v>39905</c:v>
                </c:pt>
                <c:pt idx="394">
                  <c:v>39906</c:v>
                </c:pt>
                <c:pt idx="395">
                  <c:v>39909</c:v>
                </c:pt>
                <c:pt idx="396">
                  <c:v>39910</c:v>
                </c:pt>
                <c:pt idx="397">
                  <c:v>39911</c:v>
                </c:pt>
                <c:pt idx="398">
                  <c:v>39912</c:v>
                </c:pt>
                <c:pt idx="399">
                  <c:v>39913</c:v>
                </c:pt>
                <c:pt idx="400">
                  <c:v>39916</c:v>
                </c:pt>
                <c:pt idx="401">
                  <c:v>39917</c:v>
                </c:pt>
                <c:pt idx="402">
                  <c:v>39918</c:v>
                </c:pt>
                <c:pt idx="403">
                  <c:v>39919</c:v>
                </c:pt>
                <c:pt idx="404">
                  <c:v>39920</c:v>
                </c:pt>
                <c:pt idx="405">
                  <c:v>39923</c:v>
                </c:pt>
                <c:pt idx="406">
                  <c:v>39924</c:v>
                </c:pt>
                <c:pt idx="407">
                  <c:v>39925</c:v>
                </c:pt>
                <c:pt idx="408">
                  <c:v>39926</c:v>
                </c:pt>
                <c:pt idx="409">
                  <c:v>39927</c:v>
                </c:pt>
                <c:pt idx="410">
                  <c:v>39930</c:v>
                </c:pt>
                <c:pt idx="411">
                  <c:v>39931</c:v>
                </c:pt>
                <c:pt idx="412">
                  <c:v>39932</c:v>
                </c:pt>
                <c:pt idx="413">
                  <c:v>39933</c:v>
                </c:pt>
                <c:pt idx="414">
                  <c:v>39934</c:v>
                </c:pt>
                <c:pt idx="415">
                  <c:v>39937</c:v>
                </c:pt>
                <c:pt idx="416">
                  <c:v>39938</c:v>
                </c:pt>
                <c:pt idx="417">
                  <c:v>39939</c:v>
                </c:pt>
                <c:pt idx="418">
                  <c:v>39940</c:v>
                </c:pt>
                <c:pt idx="419">
                  <c:v>39941</c:v>
                </c:pt>
                <c:pt idx="420">
                  <c:v>39944</c:v>
                </c:pt>
                <c:pt idx="421">
                  <c:v>39945</c:v>
                </c:pt>
                <c:pt idx="422">
                  <c:v>39946</c:v>
                </c:pt>
                <c:pt idx="423">
                  <c:v>39947</c:v>
                </c:pt>
                <c:pt idx="424">
                  <c:v>39948</c:v>
                </c:pt>
                <c:pt idx="425">
                  <c:v>39951</c:v>
                </c:pt>
                <c:pt idx="426">
                  <c:v>39952</c:v>
                </c:pt>
                <c:pt idx="427">
                  <c:v>39953</c:v>
                </c:pt>
                <c:pt idx="428">
                  <c:v>39954</c:v>
                </c:pt>
                <c:pt idx="429">
                  <c:v>39955</c:v>
                </c:pt>
                <c:pt idx="430">
                  <c:v>39958</c:v>
                </c:pt>
                <c:pt idx="431">
                  <c:v>39959</c:v>
                </c:pt>
                <c:pt idx="432">
                  <c:v>39960</c:v>
                </c:pt>
                <c:pt idx="433">
                  <c:v>39961</c:v>
                </c:pt>
                <c:pt idx="434">
                  <c:v>39962</c:v>
                </c:pt>
                <c:pt idx="435">
                  <c:v>39965</c:v>
                </c:pt>
                <c:pt idx="436">
                  <c:v>39966</c:v>
                </c:pt>
                <c:pt idx="437">
                  <c:v>39967</c:v>
                </c:pt>
                <c:pt idx="438">
                  <c:v>39968</c:v>
                </c:pt>
                <c:pt idx="439">
                  <c:v>39969</c:v>
                </c:pt>
                <c:pt idx="440">
                  <c:v>39972</c:v>
                </c:pt>
                <c:pt idx="441">
                  <c:v>39973</c:v>
                </c:pt>
                <c:pt idx="442">
                  <c:v>39974</c:v>
                </c:pt>
                <c:pt idx="443">
                  <c:v>39975</c:v>
                </c:pt>
                <c:pt idx="444">
                  <c:v>39976</c:v>
                </c:pt>
                <c:pt idx="445">
                  <c:v>39979</c:v>
                </c:pt>
                <c:pt idx="446">
                  <c:v>39980</c:v>
                </c:pt>
                <c:pt idx="447">
                  <c:v>39981</c:v>
                </c:pt>
                <c:pt idx="448">
                  <c:v>39982</c:v>
                </c:pt>
                <c:pt idx="449">
                  <c:v>39983</c:v>
                </c:pt>
                <c:pt idx="450">
                  <c:v>39986</c:v>
                </c:pt>
                <c:pt idx="451">
                  <c:v>39987</c:v>
                </c:pt>
                <c:pt idx="452">
                  <c:v>39988</c:v>
                </c:pt>
                <c:pt idx="453">
                  <c:v>39989</c:v>
                </c:pt>
                <c:pt idx="454">
                  <c:v>39990</c:v>
                </c:pt>
                <c:pt idx="455">
                  <c:v>39993</c:v>
                </c:pt>
                <c:pt idx="456">
                  <c:v>39994</c:v>
                </c:pt>
                <c:pt idx="457">
                  <c:v>39995</c:v>
                </c:pt>
                <c:pt idx="458">
                  <c:v>39996</c:v>
                </c:pt>
                <c:pt idx="459">
                  <c:v>39997</c:v>
                </c:pt>
                <c:pt idx="460">
                  <c:v>40000</c:v>
                </c:pt>
                <c:pt idx="461">
                  <c:v>40001</c:v>
                </c:pt>
                <c:pt idx="462">
                  <c:v>40002</c:v>
                </c:pt>
                <c:pt idx="463">
                  <c:v>40003</c:v>
                </c:pt>
                <c:pt idx="464">
                  <c:v>40004</c:v>
                </c:pt>
                <c:pt idx="465">
                  <c:v>40007</c:v>
                </c:pt>
                <c:pt idx="466">
                  <c:v>40008</c:v>
                </c:pt>
                <c:pt idx="467">
                  <c:v>40009</c:v>
                </c:pt>
                <c:pt idx="468">
                  <c:v>40010</c:v>
                </c:pt>
                <c:pt idx="469">
                  <c:v>40011</c:v>
                </c:pt>
                <c:pt idx="470">
                  <c:v>40014</c:v>
                </c:pt>
                <c:pt idx="471">
                  <c:v>40015</c:v>
                </c:pt>
                <c:pt idx="472">
                  <c:v>40016</c:v>
                </c:pt>
                <c:pt idx="473">
                  <c:v>40017</c:v>
                </c:pt>
                <c:pt idx="474">
                  <c:v>40018</c:v>
                </c:pt>
                <c:pt idx="475">
                  <c:v>40021</c:v>
                </c:pt>
                <c:pt idx="476">
                  <c:v>40022</c:v>
                </c:pt>
                <c:pt idx="477">
                  <c:v>40023</c:v>
                </c:pt>
                <c:pt idx="478">
                  <c:v>40024</c:v>
                </c:pt>
                <c:pt idx="479">
                  <c:v>40025</c:v>
                </c:pt>
                <c:pt idx="480">
                  <c:v>40028</c:v>
                </c:pt>
                <c:pt idx="481">
                  <c:v>40029</c:v>
                </c:pt>
                <c:pt idx="482">
                  <c:v>40030</c:v>
                </c:pt>
                <c:pt idx="483">
                  <c:v>40031</c:v>
                </c:pt>
                <c:pt idx="484">
                  <c:v>40032</c:v>
                </c:pt>
                <c:pt idx="485">
                  <c:v>40035</c:v>
                </c:pt>
                <c:pt idx="486">
                  <c:v>40036</c:v>
                </c:pt>
                <c:pt idx="487">
                  <c:v>40037</c:v>
                </c:pt>
                <c:pt idx="488">
                  <c:v>40038</c:v>
                </c:pt>
                <c:pt idx="489">
                  <c:v>40039</c:v>
                </c:pt>
                <c:pt idx="490">
                  <c:v>40042</c:v>
                </c:pt>
                <c:pt idx="491">
                  <c:v>40043</c:v>
                </c:pt>
                <c:pt idx="492">
                  <c:v>40044</c:v>
                </c:pt>
                <c:pt idx="493">
                  <c:v>40045</c:v>
                </c:pt>
                <c:pt idx="494">
                  <c:v>40046</c:v>
                </c:pt>
                <c:pt idx="495">
                  <c:v>40049</c:v>
                </c:pt>
                <c:pt idx="496">
                  <c:v>40050</c:v>
                </c:pt>
                <c:pt idx="497">
                  <c:v>40051</c:v>
                </c:pt>
                <c:pt idx="498">
                  <c:v>40052</c:v>
                </c:pt>
                <c:pt idx="499">
                  <c:v>40053</c:v>
                </c:pt>
                <c:pt idx="500">
                  <c:v>40056</c:v>
                </c:pt>
                <c:pt idx="501">
                  <c:v>40057</c:v>
                </c:pt>
                <c:pt idx="502">
                  <c:v>40058</c:v>
                </c:pt>
                <c:pt idx="503">
                  <c:v>40059</c:v>
                </c:pt>
                <c:pt idx="504">
                  <c:v>40060</c:v>
                </c:pt>
                <c:pt idx="505">
                  <c:v>40063</c:v>
                </c:pt>
                <c:pt idx="506">
                  <c:v>40064</c:v>
                </c:pt>
                <c:pt idx="507">
                  <c:v>40065</c:v>
                </c:pt>
                <c:pt idx="508">
                  <c:v>40066</c:v>
                </c:pt>
                <c:pt idx="509">
                  <c:v>40067</c:v>
                </c:pt>
                <c:pt idx="510">
                  <c:v>40070</c:v>
                </c:pt>
                <c:pt idx="511">
                  <c:v>40071</c:v>
                </c:pt>
                <c:pt idx="512">
                  <c:v>40072</c:v>
                </c:pt>
                <c:pt idx="513">
                  <c:v>40073</c:v>
                </c:pt>
                <c:pt idx="514">
                  <c:v>40074</c:v>
                </c:pt>
                <c:pt idx="515">
                  <c:v>40077</c:v>
                </c:pt>
                <c:pt idx="516">
                  <c:v>40078</c:v>
                </c:pt>
                <c:pt idx="517">
                  <c:v>40079</c:v>
                </c:pt>
                <c:pt idx="518">
                  <c:v>40080</c:v>
                </c:pt>
                <c:pt idx="519">
                  <c:v>40081</c:v>
                </c:pt>
                <c:pt idx="520">
                  <c:v>40084</c:v>
                </c:pt>
                <c:pt idx="521">
                  <c:v>40085</c:v>
                </c:pt>
                <c:pt idx="522">
                  <c:v>40086</c:v>
                </c:pt>
                <c:pt idx="523">
                  <c:v>40087</c:v>
                </c:pt>
                <c:pt idx="524">
                  <c:v>40088</c:v>
                </c:pt>
                <c:pt idx="525">
                  <c:v>40091</c:v>
                </c:pt>
                <c:pt idx="526">
                  <c:v>40092</c:v>
                </c:pt>
                <c:pt idx="527">
                  <c:v>40093</c:v>
                </c:pt>
                <c:pt idx="528">
                  <c:v>40094</c:v>
                </c:pt>
                <c:pt idx="529">
                  <c:v>40095</c:v>
                </c:pt>
                <c:pt idx="530">
                  <c:v>40098</c:v>
                </c:pt>
                <c:pt idx="531">
                  <c:v>40099</c:v>
                </c:pt>
                <c:pt idx="532">
                  <c:v>40100</c:v>
                </c:pt>
                <c:pt idx="533">
                  <c:v>40101</c:v>
                </c:pt>
                <c:pt idx="534">
                  <c:v>40102</c:v>
                </c:pt>
                <c:pt idx="535">
                  <c:v>40105</c:v>
                </c:pt>
                <c:pt idx="536">
                  <c:v>40106</c:v>
                </c:pt>
                <c:pt idx="537">
                  <c:v>40107</c:v>
                </c:pt>
                <c:pt idx="538">
                  <c:v>40108</c:v>
                </c:pt>
                <c:pt idx="539">
                  <c:v>40109</c:v>
                </c:pt>
                <c:pt idx="540">
                  <c:v>40112</c:v>
                </c:pt>
                <c:pt idx="541">
                  <c:v>40113</c:v>
                </c:pt>
                <c:pt idx="542">
                  <c:v>40114</c:v>
                </c:pt>
                <c:pt idx="543">
                  <c:v>40115</c:v>
                </c:pt>
                <c:pt idx="544">
                  <c:v>40116</c:v>
                </c:pt>
                <c:pt idx="545">
                  <c:v>40119</c:v>
                </c:pt>
                <c:pt idx="546">
                  <c:v>40120</c:v>
                </c:pt>
                <c:pt idx="547">
                  <c:v>40121</c:v>
                </c:pt>
                <c:pt idx="548">
                  <c:v>40122</c:v>
                </c:pt>
                <c:pt idx="549">
                  <c:v>40123</c:v>
                </c:pt>
                <c:pt idx="550">
                  <c:v>40126</c:v>
                </c:pt>
                <c:pt idx="551">
                  <c:v>40127</c:v>
                </c:pt>
                <c:pt idx="552">
                  <c:v>40128</c:v>
                </c:pt>
                <c:pt idx="553">
                  <c:v>40129</c:v>
                </c:pt>
                <c:pt idx="554">
                  <c:v>40130</c:v>
                </c:pt>
                <c:pt idx="555">
                  <c:v>40133</c:v>
                </c:pt>
                <c:pt idx="556">
                  <c:v>40134</c:v>
                </c:pt>
                <c:pt idx="557">
                  <c:v>40135</c:v>
                </c:pt>
                <c:pt idx="558">
                  <c:v>40136</c:v>
                </c:pt>
                <c:pt idx="559">
                  <c:v>40137</c:v>
                </c:pt>
                <c:pt idx="560">
                  <c:v>40140</c:v>
                </c:pt>
                <c:pt idx="561">
                  <c:v>40141</c:v>
                </c:pt>
                <c:pt idx="562">
                  <c:v>40142</c:v>
                </c:pt>
                <c:pt idx="563">
                  <c:v>40143</c:v>
                </c:pt>
                <c:pt idx="564">
                  <c:v>40144</c:v>
                </c:pt>
                <c:pt idx="565">
                  <c:v>40147</c:v>
                </c:pt>
                <c:pt idx="566">
                  <c:v>40148</c:v>
                </c:pt>
                <c:pt idx="567">
                  <c:v>40149</c:v>
                </c:pt>
                <c:pt idx="568">
                  <c:v>40150</c:v>
                </c:pt>
                <c:pt idx="569">
                  <c:v>40151</c:v>
                </c:pt>
                <c:pt idx="570">
                  <c:v>40154</c:v>
                </c:pt>
                <c:pt idx="571">
                  <c:v>40155</c:v>
                </c:pt>
                <c:pt idx="572">
                  <c:v>40156</c:v>
                </c:pt>
                <c:pt idx="573">
                  <c:v>40157</c:v>
                </c:pt>
                <c:pt idx="574">
                  <c:v>40158</c:v>
                </c:pt>
                <c:pt idx="575">
                  <c:v>40161</c:v>
                </c:pt>
                <c:pt idx="576">
                  <c:v>40162</c:v>
                </c:pt>
                <c:pt idx="577">
                  <c:v>40163</c:v>
                </c:pt>
                <c:pt idx="578">
                  <c:v>40164</c:v>
                </c:pt>
                <c:pt idx="579">
                  <c:v>40165</c:v>
                </c:pt>
                <c:pt idx="580">
                  <c:v>40168</c:v>
                </c:pt>
                <c:pt idx="581">
                  <c:v>40169</c:v>
                </c:pt>
                <c:pt idx="582">
                  <c:v>40170</c:v>
                </c:pt>
                <c:pt idx="583">
                  <c:v>40171</c:v>
                </c:pt>
                <c:pt idx="584">
                  <c:v>40172</c:v>
                </c:pt>
                <c:pt idx="585">
                  <c:v>40175</c:v>
                </c:pt>
                <c:pt idx="586">
                  <c:v>40176</c:v>
                </c:pt>
                <c:pt idx="587">
                  <c:v>40177</c:v>
                </c:pt>
                <c:pt idx="588">
                  <c:v>40178</c:v>
                </c:pt>
                <c:pt idx="589">
                  <c:v>40179</c:v>
                </c:pt>
                <c:pt idx="590">
                  <c:v>40182</c:v>
                </c:pt>
                <c:pt idx="591">
                  <c:v>40183</c:v>
                </c:pt>
                <c:pt idx="592">
                  <c:v>40184</c:v>
                </c:pt>
                <c:pt idx="593">
                  <c:v>40185</c:v>
                </c:pt>
                <c:pt idx="594">
                  <c:v>40186</c:v>
                </c:pt>
                <c:pt idx="595">
                  <c:v>40189</c:v>
                </c:pt>
                <c:pt idx="596">
                  <c:v>40190</c:v>
                </c:pt>
                <c:pt idx="597">
                  <c:v>40191</c:v>
                </c:pt>
                <c:pt idx="598">
                  <c:v>40192</c:v>
                </c:pt>
                <c:pt idx="599">
                  <c:v>40193</c:v>
                </c:pt>
                <c:pt idx="600">
                  <c:v>40196</c:v>
                </c:pt>
                <c:pt idx="601">
                  <c:v>40197</c:v>
                </c:pt>
                <c:pt idx="602">
                  <c:v>40198</c:v>
                </c:pt>
                <c:pt idx="603">
                  <c:v>40199</c:v>
                </c:pt>
                <c:pt idx="604">
                  <c:v>40200</c:v>
                </c:pt>
                <c:pt idx="605">
                  <c:v>40203</c:v>
                </c:pt>
                <c:pt idx="606">
                  <c:v>40204</c:v>
                </c:pt>
                <c:pt idx="607">
                  <c:v>40205</c:v>
                </c:pt>
                <c:pt idx="608">
                  <c:v>40206</c:v>
                </c:pt>
                <c:pt idx="609">
                  <c:v>40207</c:v>
                </c:pt>
                <c:pt idx="610">
                  <c:v>40210</c:v>
                </c:pt>
                <c:pt idx="611">
                  <c:v>40211</c:v>
                </c:pt>
                <c:pt idx="612">
                  <c:v>40212</c:v>
                </c:pt>
                <c:pt idx="613">
                  <c:v>40213</c:v>
                </c:pt>
                <c:pt idx="614">
                  <c:v>40214</c:v>
                </c:pt>
                <c:pt idx="615">
                  <c:v>40217</c:v>
                </c:pt>
                <c:pt idx="616">
                  <c:v>40218</c:v>
                </c:pt>
                <c:pt idx="617">
                  <c:v>40219</c:v>
                </c:pt>
                <c:pt idx="618">
                  <c:v>40220</c:v>
                </c:pt>
                <c:pt idx="619">
                  <c:v>40221</c:v>
                </c:pt>
                <c:pt idx="620">
                  <c:v>40224</c:v>
                </c:pt>
                <c:pt idx="621">
                  <c:v>40225</c:v>
                </c:pt>
                <c:pt idx="622">
                  <c:v>40226</c:v>
                </c:pt>
                <c:pt idx="623">
                  <c:v>40227</c:v>
                </c:pt>
                <c:pt idx="624">
                  <c:v>40228</c:v>
                </c:pt>
                <c:pt idx="625">
                  <c:v>40231</c:v>
                </c:pt>
                <c:pt idx="626">
                  <c:v>40232</c:v>
                </c:pt>
                <c:pt idx="627">
                  <c:v>40233</c:v>
                </c:pt>
                <c:pt idx="628">
                  <c:v>40234</c:v>
                </c:pt>
                <c:pt idx="629">
                  <c:v>40235</c:v>
                </c:pt>
                <c:pt idx="630">
                  <c:v>40238</c:v>
                </c:pt>
                <c:pt idx="631">
                  <c:v>40239</c:v>
                </c:pt>
                <c:pt idx="632">
                  <c:v>40240</c:v>
                </c:pt>
                <c:pt idx="633">
                  <c:v>40241</c:v>
                </c:pt>
                <c:pt idx="634">
                  <c:v>40242</c:v>
                </c:pt>
                <c:pt idx="635">
                  <c:v>40245</c:v>
                </c:pt>
                <c:pt idx="636">
                  <c:v>40246</c:v>
                </c:pt>
                <c:pt idx="637">
                  <c:v>40247</c:v>
                </c:pt>
                <c:pt idx="638">
                  <c:v>40248</c:v>
                </c:pt>
                <c:pt idx="639">
                  <c:v>40249</c:v>
                </c:pt>
                <c:pt idx="640">
                  <c:v>40252</c:v>
                </c:pt>
                <c:pt idx="641">
                  <c:v>40253</c:v>
                </c:pt>
                <c:pt idx="642">
                  <c:v>40254</c:v>
                </c:pt>
                <c:pt idx="643">
                  <c:v>40255</c:v>
                </c:pt>
                <c:pt idx="644">
                  <c:v>40256</c:v>
                </c:pt>
                <c:pt idx="645">
                  <c:v>40259</c:v>
                </c:pt>
                <c:pt idx="646">
                  <c:v>40260</c:v>
                </c:pt>
                <c:pt idx="647">
                  <c:v>40261</c:v>
                </c:pt>
                <c:pt idx="648">
                  <c:v>40262</c:v>
                </c:pt>
                <c:pt idx="649">
                  <c:v>40263</c:v>
                </c:pt>
                <c:pt idx="650">
                  <c:v>40266</c:v>
                </c:pt>
                <c:pt idx="651">
                  <c:v>40267</c:v>
                </c:pt>
                <c:pt idx="652">
                  <c:v>40268</c:v>
                </c:pt>
                <c:pt idx="653">
                  <c:v>40269</c:v>
                </c:pt>
                <c:pt idx="654">
                  <c:v>40270</c:v>
                </c:pt>
                <c:pt idx="655">
                  <c:v>40273</c:v>
                </c:pt>
                <c:pt idx="656">
                  <c:v>40274</c:v>
                </c:pt>
                <c:pt idx="657">
                  <c:v>40275</c:v>
                </c:pt>
                <c:pt idx="658">
                  <c:v>40276</c:v>
                </c:pt>
                <c:pt idx="659">
                  <c:v>40277</c:v>
                </c:pt>
                <c:pt idx="660">
                  <c:v>40280</c:v>
                </c:pt>
                <c:pt idx="661">
                  <c:v>40281</c:v>
                </c:pt>
                <c:pt idx="662">
                  <c:v>40282</c:v>
                </c:pt>
                <c:pt idx="663">
                  <c:v>40283</c:v>
                </c:pt>
                <c:pt idx="664">
                  <c:v>40284</c:v>
                </c:pt>
                <c:pt idx="665">
                  <c:v>40287</c:v>
                </c:pt>
                <c:pt idx="666">
                  <c:v>40288</c:v>
                </c:pt>
                <c:pt idx="667">
                  <c:v>40289</c:v>
                </c:pt>
                <c:pt idx="668">
                  <c:v>40290</c:v>
                </c:pt>
                <c:pt idx="669">
                  <c:v>40291</c:v>
                </c:pt>
                <c:pt idx="670">
                  <c:v>40294</c:v>
                </c:pt>
                <c:pt idx="671">
                  <c:v>40295</c:v>
                </c:pt>
                <c:pt idx="672">
                  <c:v>40296</c:v>
                </c:pt>
                <c:pt idx="673">
                  <c:v>40297</c:v>
                </c:pt>
                <c:pt idx="674">
                  <c:v>40298</c:v>
                </c:pt>
                <c:pt idx="675">
                  <c:v>40301</c:v>
                </c:pt>
                <c:pt idx="676">
                  <c:v>40302</c:v>
                </c:pt>
                <c:pt idx="677">
                  <c:v>40303</c:v>
                </c:pt>
                <c:pt idx="678">
                  <c:v>40304</c:v>
                </c:pt>
                <c:pt idx="679">
                  <c:v>40305</c:v>
                </c:pt>
                <c:pt idx="680">
                  <c:v>40308</c:v>
                </c:pt>
                <c:pt idx="681">
                  <c:v>40309</c:v>
                </c:pt>
                <c:pt idx="682">
                  <c:v>40310</c:v>
                </c:pt>
                <c:pt idx="683">
                  <c:v>40311</c:v>
                </c:pt>
                <c:pt idx="684">
                  <c:v>40312</c:v>
                </c:pt>
                <c:pt idx="685">
                  <c:v>40315</c:v>
                </c:pt>
                <c:pt idx="686">
                  <c:v>40316</c:v>
                </c:pt>
                <c:pt idx="687">
                  <c:v>40317</c:v>
                </c:pt>
                <c:pt idx="688">
                  <c:v>40318</c:v>
                </c:pt>
                <c:pt idx="689">
                  <c:v>40319</c:v>
                </c:pt>
                <c:pt idx="690">
                  <c:v>40322</c:v>
                </c:pt>
                <c:pt idx="691">
                  <c:v>40323</c:v>
                </c:pt>
                <c:pt idx="692">
                  <c:v>40324</c:v>
                </c:pt>
                <c:pt idx="693">
                  <c:v>40325</c:v>
                </c:pt>
                <c:pt idx="694">
                  <c:v>40326</c:v>
                </c:pt>
                <c:pt idx="695">
                  <c:v>40329</c:v>
                </c:pt>
                <c:pt idx="696">
                  <c:v>40330</c:v>
                </c:pt>
                <c:pt idx="697">
                  <c:v>40331</c:v>
                </c:pt>
                <c:pt idx="698">
                  <c:v>40332</c:v>
                </c:pt>
                <c:pt idx="699">
                  <c:v>40333</c:v>
                </c:pt>
                <c:pt idx="700">
                  <c:v>40336</c:v>
                </c:pt>
                <c:pt idx="701">
                  <c:v>40337</c:v>
                </c:pt>
                <c:pt idx="702">
                  <c:v>40338</c:v>
                </c:pt>
                <c:pt idx="703">
                  <c:v>40339</c:v>
                </c:pt>
                <c:pt idx="704">
                  <c:v>40340</c:v>
                </c:pt>
                <c:pt idx="705">
                  <c:v>40343</c:v>
                </c:pt>
                <c:pt idx="706">
                  <c:v>40344</c:v>
                </c:pt>
                <c:pt idx="707">
                  <c:v>40345</c:v>
                </c:pt>
                <c:pt idx="708">
                  <c:v>40346</c:v>
                </c:pt>
                <c:pt idx="709">
                  <c:v>40347</c:v>
                </c:pt>
                <c:pt idx="710">
                  <c:v>40350</c:v>
                </c:pt>
                <c:pt idx="711">
                  <c:v>40351</c:v>
                </c:pt>
                <c:pt idx="712">
                  <c:v>40352</c:v>
                </c:pt>
                <c:pt idx="713">
                  <c:v>40353</c:v>
                </c:pt>
                <c:pt idx="714">
                  <c:v>40354</c:v>
                </c:pt>
                <c:pt idx="715">
                  <c:v>40357</c:v>
                </c:pt>
                <c:pt idx="716">
                  <c:v>40358</c:v>
                </c:pt>
                <c:pt idx="717">
                  <c:v>40359</c:v>
                </c:pt>
                <c:pt idx="718">
                  <c:v>40360</c:v>
                </c:pt>
                <c:pt idx="719">
                  <c:v>40361</c:v>
                </c:pt>
                <c:pt idx="720">
                  <c:v>40364</c:v>
                </c:pt>
                <c:pt idx="721">
                  <c:v>40365</c:v>
                </c:pt>
                <c:pt idx="722">
                  <c:v>40366</c:v>
                </c:pt>
                <c:pt idx="723">
                  <c:v>40367</c:v>
                </c:pt>
                <c:pt idx="724">
                  <c:v>40368</c:v>
                </c:pt>
                <c:pt idx="725">
                  <c:v>40371</c:v>
                </c:pt>
                <c:pt idx="726">
                  <c:v>40372</c:v>
                </c:pt>
                <c:pt idx="727">
                  <c:v>40373</c:v>
                </c:pt>
                <c:pt idx="728">
                  <c:v>40374</c:v>
                </c:pt>
                <c:pt idx="729">
                  <c:v>40375</c:v>
                </c:pt>
                <c:pt idx="730">
                  <c:v>40378</c:v>
                </c:pt>
                <c:pt idx="731">
                  <c:v>40379</c:v>
                </c:pt>
                <c:pt idx="732">
                  <c:v>40380</c:v>
                </c:pt>
                <c:pt idx="733">
                  <c:v>40381</c:v>
                </c:pt>
                <c:pt idx="734">
                  <c:v>40382</c:v>
                </c:pt>
                <c:pt idx="735">
                  <c:v>40385</c:v>
                </c:pt>
                <c:pt idx="736">
                  <c:v>40386</c:v>
                </c:pt>
                <c:pt idx="737">
                  <c:v>40387</c:v>
                </c:pt>
                <c:pt idx="738">
                  <c:v>40388</c:v>
                </c:pt>
                <c:pt idx="739">
                  <c:v>40389</c:v>
                </c:pt>
                <c:pt idx="740">
                  <c:v>40392</c:v>
                </c:pt>
                <c:pt idx="741">
                  <c:v>40393</c:v>
                </c:pt>
                <c:pt idx="742">
                  <c:v>40394</c:v>
                </c:pt>
                <c:pt idx="743">
                  <c:v>40395</c:v>
                </c:pt>
                <c:pt idx="744">
                  <c:v>40396</c:v>
                </c:pt>
                <c:pt idx="745">
                  <c:v>40399</c:v>
                </c:pt>
                <c:pt idx="746">
                  <c:v>40400</c:v>
                </c:pt>
                <c:pt idx="747">
                  <c:v>40401</c:v>
                </c:pt>
                <c:pt idx="748">
                  <c:v>40402</c:v>
                </c:pt>
                <c:pt idx="749">
                  <c:v>40403</c:v>
                </c:pt>
                <c:pt idx="750">
                  <c:v>40406</c:v>
                </c:pt>
                <c:pt idx="751">
                  <c:v>40407</c:v>
                </c:pt>
                <c:pt idx="752">
                  <c:v>40408</c:v>
                </c:pt>
                <c:pt idx="753">
                  <c:v>40409</c:v>
                </c:pt>
                <c:pt idx="754">
                  <c:v>40410</c:v>
                </c:pt>
                <c:pt idx="755">
                  <c:v>40413</c:v>
                </c:pt>
                <c:pt idx="756">
                  <c:v>40414</c:v>
                </c:pt>
                <c:pt idx="757">
                  <c:v>40415</c:v>
                </c:pt>
                <c:pt idx="758">
                  <c:v>40416</c:v>
                </c:pt>
                <c:pt idx="759">
                  <c:v>40417</c:v>
                </c:pt>
                <c:pt idx="760">
                  <c:v>40420</c:v>
                </c:pt>
                <c:pt idx="761">
                  <c:v>40421</c:v>
                </c:pt>
                <c:pt idx="762">
                  <c:v>40422</c:v>
                </c:pt>
                <c:pt idx="763">
                  <c:v>40423</c:v>
                </c:pt>
                <c:pt idx="764">
                  <c:v>40424</c:v>
                </c:pt>
                <c:pt idx="765">
                  <c:v>40427</c:v>
                </c:pt>
                <c:pt idx="766">
                  <c:v>40428</c:v>
                </c:pt>
                <c:pt idx="767">
                  <c:v>40429</c:v>
                </c:pt>
                <c:pt idx="768">
                  <c:v>40430</c:v>
                </c:pt>
                <c:pt idx="769">
                  <c:v>40431</c:v>
                </c:pt>
                <c:pt idx="770">
                  <c:v>40434</c:v>
                </c:pt>
                <c:pt idx="771">
                  <c:v>40435</c:v>
                </c:pt>
                <c:pt idx="772">
                  <c:v>40436</c:v>
                </c:pt>
                <c:pt idx="773">
                  <c:v>40437</c:v>
                </c:pt>
                <c:pt idx="774">
                  <c:v>40438</c:v>
                </c:pt>
                <c:pt idx="775">
                  <c:v>40441</c:v>
                </c:pt>
                <c:pt idx="776">
                  <c:v>40442</c:v>
                </c:pt>
                <c:pt idx="777">
                  <c:v>40443</c:v>
                </c:pt>
                <c:pt idx="778">
                  <c:v>40444</c:v>
                </c:pt>
                <c:pt idx="779">
                  <c:v>40445</c:v>
                </c:pt>
                <c:pt idx="780">
                  <c:v>40448</c:v>
                </c:pt>
                <c:pt idx="781">
                  <c:v>40449</c:v>
                </c:pt>
                <c:pt idx="782">
                  <c:v>40450</c:v>
                </c:pt>
                <c:pt idx="783">
                  <c:v>40451</c:v>
                </c:pt>
                <c:pt idx="784">
                  <c:v>40452</c:v>
                </c:pt>
                <c:pt idx="785">
                  <c:v>40455</c:v>
                </c:pt>
                <c:pt idx="786">
                  <c:v>40456</c:v>
                </c:pt>
                <c:pt idx="787">
                  <c:v>40457</c:v>
                </c:pt>
                <c:pt idx="788">
                  <c:v>40458</c:v>
                </c:pt>
                <c:pt idx="789">
                  <c:v>40459</c:v>
                </c:pt>
                <c:pt idx="790">
                  <c:v>40462</c:v>
                </c:pt>
                <c:pt idx="791">
                  <c:v>40463</c:v>
                </c:pt>
                <c:pt idx="792">
                  <c:v>40464</c:v>
                </c:pt>
                <c:pt idx="793">
                  <c:v>40465</c:v>
                </c:pt>
                <c:pt idx="794">
                  <c:v>40466</c:v>
                </c:pt>
                <c:pt idx="795">
                  <c:v>40469</c:v>
                </c:pt>
                <c:pt idx="796">
                  <c:v>40470</c:v>
                </c:pt>
                <c:pt idx="797">
                  <c:v>40471</c:v>
                </c:pt>
                <c:pt idx="798">
                  <c:v>40472</c:v>
                </c:pt>
                <c:pt idx="799">
                  <c:v>40473</c:v>
                </c:pt>
                <c:pt idx="800">
                  <c:v>40476</c:v>
                </c:pt>
                <c:pt idx="801">
                  <c:v>40477</c:v>
                </c:pt>
                <c:pt idx="802">
                  <c:v>40478</c:v>
                </c:pt>
                <c:pt idx="803">
                  <c:v>40479</c:v>
                </c:pt>
                <c:pt idx="804">
                  <c:v>40480</c:v>
                </c:pt>
                <c:pt idx="805">
                  <c:v>40483</c:v>
                </c:pt>
                <c:pt idx="806">
                  <c:v>40484</c:v>
                </c:pt>
                <c:pt idx="807">
                  <c:v>40485</c:v>
                </c:pt>
                <c:pt idx="808">
                  <c:v>40486</c:v>
                </c:pt>
                <c:pt idx="809">
                  <c:v>40487</c:v>
                </c:pt>
                <c:pt idx="810">
                  <c:v>40490</c:v>
                </c:pt>
                <c:pt idx="811">
                  <c:v>40491</c:v>
                </c:pt>
                <c:pt idx="812">
                  <c:v>40492</c:v>
                </c:pt>
                <c:pt idx="813">
                  <c:v>40493</c:v>
                </c:pt>
                <c:pt idx="814">
                  <c:v>40494</c:v>
                </c:pt>
                <c:pt idx="815">
                  <c:v>40497</c:v>
                </c:pt>
                <c:pt idx="816">
                  <c:v>40498</c:v>
                </c:pt>
                <c:pt idx="817">
                  <c:v>40499</c:v>
                </c:pt>
                <c:pt idx="818">
                  <c:v>40500</c:v>
                </c:pt>
                <c:pt idx="819">
                  <c:v>40501</c:v>
                </c:pt>
                <c:pt idx="820">
                  <c:v>40504</c:v>
                </c:pt>
                <c:pt idx="821">
                  <c:v>40505</c:v>
                </c:pt>
                <c:pt idx="822">
                  <c:v>40506</c:v>
                </c:pt>
                <c:pt idx="823">
                  <c:v>40507</c:v>
                </c:pt>
                <c:pt idx="824">
                  <c:v>40508</c:v>
                </c:pt>
                <c:pt idx="825">
                  <c:v>40511</c:v>
                </c:pt>
                <c:pt idx="826">
                  <c:v>40512</c:v>
                </c:pt>
                <c:pt idx="827">
                  <c:v>40513</c:v>
                </c:pt>
                <c:pt idx="828">
                  <c:v>40514</c:v>
                </c:pt>
                <c:pt idx="829">
                  <c:v>40515</c:v>
                </c:pt>
                <c:pt idx="830">
                  <c:v>40518</c:v>
                </c:pt>
                <c:pt idx="831">
                  <c:v>40519</c:v>
                </c:pt>
                <c:pt idx="832">
                  <c:v>40520</c:v>
                </c:pt>
                <c:pt idx="833">
                  <c:v>40521</c:v>
                </c:pt>
                <c:pt idx="834">
                  <c:v>40522</c:v>
                </c:pt>
                <c:pt idx="835">
                  <c:v>40525</c:v>
                </c:pt>
                <c:pt idx="836">
                  <c:v>40526</c:v>
                </c:pt>
                <c:pt idx="837">
                  <c:v>40527</c:v>
                </c:pt>
                <c:pt idx="838">
                  <c:v>40528</c:v>
                </c:pt>
                <c:pt idx="839">
                  <c:v>40529</c:v>
                </c:pt>
                <c:pt idx="840">
                  <c:v>40532</c:v>
                </c:pt>
                <c:pt idx="841">
                  <c:v>40533</c:v>
                </c:pt>
                <c:pt idx="842">
                  <c:v>40534</c:v>
                </c:pt>
                <c:pt idx="843">
                  <c:v>40535</c:v>
                </c:pt>
                <c:pt idx="844">
                  <c:v>40536</c:v>
                </c:pt>
                <c:pt idx="845">
                  <c:v>40539</c:v>
                </c:pt>
                <c:pt idx="846">
                  <c:v>40540</c:v>
                </c:pt>
                <c:pt idx="847">
                  <c:v>40541</c:v>
                </c:pt>
                <c:pt idx="848">
                  <c:v>40542</c:v>
                </c:pt>
                <c:pt idx="849">
                  <c:v>40543</c:v>
                </c:pt>
                <c:pt idx="850">
                  <c:v>40546</c:v>
                </c:pt>
                <c:pt idx="851">
                  <c:v>40547</c:v>
                </c:pt>
                <c:pt idx="852">
                  <c:v>40548</c:v>
                </c:pt>
                <c:pt idx="853">
                  <c:v>40549</c:v>
                </c:pt>
                <c:pt idx="854">
                  <c:v>40550</c:v>
                </c:pt>
                <c:pt idx="855">
                  <c:v>40553</c:v>
                </c:pt>
                <c:pt idx="856">
                  <c:v>40554</c:v>
                </c:pt>
                <c:pt idx="857">
                  <c:v>40555</c:v>
                </c:pt>
                <c:pt idx="858">
                  <c:v>40556</c:v>
                </c:pt>
                <c:pt idx="859">
                  <c:v>40557</c:v>
                </c:pt>
                <c:pt idx="860">
                  <c:v>40560</c:v>
                </c:pt>
                <c:pt idx="861">
                  <c:v>40561</c:v>
                </c:pt>
                <c:pt idx="862">
                  <c:v>40562</c:v>
                </c:pt>
                <c:pt idx="863">
                  <c:v>40563</c:v>
                </c:pt>
                <c:pt idx="864">
                  <c:v>40564</c:v>
                </c:pt>
                <c:pt idx="865">
                  <c:v>40567</c:v>
                </c:pt>
                <c:pt idx="866">
                  <c:v>40568</c:v>
                </c:pt>
                <c:pt idx="867">
                  <c:v>40569</c:v>
                </c:pt>
                <c:pt idx="868">
                  <c:v>40570</c:v>
                </c:pt>
                <c:pt idx="869">
                  <c:v>40571</c:v>
                </c:pt>
                <c:pt idx="870">
                  <c:v>40574</c:v>
                </c:pt>
                <c:pt idx="871">
                  <c:v>40575</c:v>
                </c:pt>
                <c:pt idx="872">
                  <c:v>40576</c:v>
                </c:pt>
                <c:pt idx="873">
                  <c:v>40577</c:v>
                </c:pt>
                <c:pt idx="874">
                  <c:v>40578</c:v>
                </c:pt>
                <c:pt idx="875">
                  <c:v>40581</c:v>
                </c:pt>
                <c:pt idx="876">
                  <c:v>40582</c:v>
                </c:pt>
                <c:pt idx="877">
                  <c:v>40583</c:v>
                </c:pt>
                <c:pt idx="878">
                  <c:v>40584</c:v>
                </c:pt>
                <c:pt idx="879">
                  <c:v>40585</c:v>
                </c:pt>
                <c:pt idx="880">
                  <c:v>40588</c:v>
                </c:pt>
                <c:pt idx="881">
                  <c:v>40589</c:v>
                </c:pt>
                <c:pt idx="882">
                  <c:v>40590</c:v>
                </c:pt>
                <c:pt idx="883">
                  <c:v>40591</c:v>
                </c:pt>
                <c:pt idx="884">
                  <c:v>40592</c:v>
                </c:pt>
                <c:pt idx="885">
                  <c:v>40595</c:v>
                </c:pt>
                <c:pt idx="886">
                  <c:v>40596</c:v>
                </c:pt>
                <c:pt idx="887">
                  <c:v>40597</c:v>
                </c:pt>
                <c:pt idx="888">
                  <c:v>40598</c:v>
                </c:pt>
                <c:pt idx="889">
                  <c:v>40599</c:v>
                </c:pt>
                <c:pt idx="890">
                  <c:v>40602</c:v>
                </c:pt>
                <c:pt idx="891">
                  <c:v>40603</c:v>
                </c:pt>
                <c:pt idx="892">
                  <c:v>40604</c:v>
                </c:pt>
                <c:pt idx="893">
                  <c:v>40605</c:v>
                </c:pt>
                <c:pt idx="894">
                  <c:v>40606</c:v>
                </c:pt>
                <c:pt idx="895">
                  <c:v>40609</c:v>
                </c:pt>
                <c:pt idx="896">
                  <c:v>40610</c:v>
                </c:pt>
                <c:pt idx="897">
                  <c:v>40611</c:v>
                </c:pt>
                <c:pt idx="898">
                  <c:v>40612</c:v>
                </c:pt>
                <c:pt idx="899">
                  <c:v>40613</c:v>
                </c:pt>
                <c:pt idx="900">
                  <c:v>40616</c:v>
                </c:pt>
                <c:pt idx="901">
                  <c:v>40617</c:v>
                </c:pt>
                <c:pt idx="902">
                  <c:v>40618</c:v>
                </c:pt>
                <c:pt idx="903">
                  <c:v>40619</c:v>
                </c:pt>
                <c:pt idx="904">
                  <c:v>40620</c:v>
                </c:pt>
                <c:pt idx="905">
                  <c:v>40623</c:v>
                </c:pt>
                <c:pt idx="906">
                  <c:v>40624</c:v>
                </c:pt>
                <c:pt idx="907">
                  <c:v>40625</c:v>
                </c:pt>
                <c:pt idx="908">
                  <c:v>40626</c:v>
                </c:pt>
                <c:pt idx="909">
                  <c:v>40627</c:v>
                </c:pt>
                <c:pt idx="910">
                  <c:v>40630</c:v>
                </c:pt>
                <c:pt idx="911">
                  <c:v>40631</c:v>
                </c:pt>
                <c:pt idx="912">
                  <c:v>40632</c:v>
                </c:pt>
                <c:pt idx="913">
                  <c:v>40633</c:v>
                </c:pt>
                <c:pt idx="914">
                  <c:v>40634</c:v>
                </c:pt>
                <c:pt idx="915">
                  <c:v>40637</c:v>
                </c:pt>
                <c:pt idx="916">
                  <c:v>40638</c:v>
                </c:pt>
                <c:pt idx="917">
                  <c:v>40639</c:v>
                </c:pt>
                <c:pt idx="918">
                  <c:v>40640</c:v>
                </c:pt>
                <c:pt idx="919">
                  <c:v>40641</c:v>
                </c:pt>
                <c:pt idx="920">
                  <c:v>40644</c:v>
                </c:pt>
                <c:pt idx="921">
                  <c:v>40645</c:v>
                </c:pt>
                <c:pt idx="922">
                  <c:v>40646</c:v>
                </c:pt>
                <c:pt idx="923">
                  <c:v>40647</c:v>
                </c:pt>
                <c:pt idx="924">
                  <c:v>40648</c:v>
                </c:pt>
                <c:pt idx="925">
                  <c:v>40651</c:v>
                </c:pt>
                <c:pt idx="926">
                  <c:v>40652</c:v>
                </c:pt>
                <c:pt idx="927">
                  <c:v>40653</c:v>
                </c:pt>
                <c:pt idx="928">
                  <c:v>40654</c:v>
                </c:pt>
                <c:pt idx="929">
                  <c:v>40659</c:v>
                </c:pt>
                <c:pt idx="930">
                  <c:v>40660</c:v>
                </c:pt>
                <c:pt idx="931">
                  <c:v>40661</c:v>
                </c:pt>
                <c:pt idx="932">
                  <c:v>40662</c:v>
                </c:pt>
                <c:pt idx="933">
                  <c:v>40665</c:v>
                </c:pt>
                <c:pt idx="934">
                  <c:v>40666</c:v>
                </c:pt>
                <c:pt idx="935">
                  <c:v>40667</c:v>
                </c:pt>
                <c:pt idx="936">
                  <c:v>40668</c:v>
                </c:pt>
                <c:pt idx="937">
                  <c:v>40669</c:v>
                </c:pt>
                <c:pt idx="938">
                  <c:v>40672</c:v>
                </c:pt>
                <c:pt idx="939">
                  <c:v>40673</c:v>
                </c:pt>
                <c:pt idx="940">
                  <c:v>40674</c:v>
                </c:pt>
                <c:pt idx="941">
                  <c:v>40675</c:v>
                </c:pt>
                <c:pt idx="942">
                  <c:v>40676</c:v>
                </c:pt>
                <c:pt idx="943">
                  <c:v>40679</c:v>
                </c:pt>
                <c:pt idx="944">
                  <c:v>40680</c:v>
                </c:pt>
                <c:pt idx="945">
                  <c:v>40681</c:v>
                </c:pt>
                <c:pt idx="946">
                  <c:v>40682</c:v>
                </c:pt>
                <c:pt idx="947">
                  <c:v>40683</c:v>
                </c:pt>
                <c:pt idx="948">
                  <c:v>40686</c:v>
                </c:pt>
                <c:pt idx="949">
                  <c:v>40687</c:v>
                </c:pt>
                <c:pt idx="950">
                  <c:v>40688</c:v>
                </c:pt>
                <c:pt idx="951">
                  <c:v>40689</c:v>
                </c:pt>
                <c:pt idx="952">
                  <c:v>40690</c:v>
                </c:pt>
                <c:pt idx="953">
                  <c:v>40693</c:v>
                </c:pt>
                <c:pt idx="954">
                  <c:v>40694</c:v>
                </c:pt>
                <c:pt idx="955">
                  <c:v>40695</c:v>
                </c:pt>
                <c:pt idx="956">
                  <c:v>40696</c:v>
                </c:pt>
                <c:pt idx="957">
                  <c:v>40697</c:v>
                </c:pt>
                <c:pt idx="958">
                  <c:v>40700</c:v>
                </c:pt>
                <c:pt idx="959">
                  <c:v>40701</c:v>
                </c:pt>
                <c:pt idx="960">
                  <c:v>40702</c:v>
                </c:pt>
                <c:pt idx="961">
                  <c:v>40703</c:v>
                </c:pt>
                <c:pt idx="962">
                  <c:v>40704</c:v>
                </c:pt>
                <c:pt idx="963">
                  <c:v>40707</c:v>
                </c:pt>
                <c:pt idx="964">
                  <c:v>40708</c:v>
                </c:pt>
                <c:pt idx="965">
                  <c:v>40709</c:v>
                </c:pt>
                <c:pt idx="966">
                  <c:v>40710</c:v>
                </c:pt>
                <c:pt idx="967">
                  <c:v>40711</c:v>
                </c:pt>
                <c:pt idx="968">
                  <c:v>40714</c:v>
                </c:pt>
                <c:pt idx="969">
                  <c:v>40715</c:v>
                </c:pt>
                <c:pt idx="970">
                  <c:v>40716</c:v>
                </c:pt>
                <c:pt idx="971">
                  <c:v>40717</c:v>
                </c:pt>
                <c:pt idx="972">
                  <c:v>40718</c:v>
                </c:pt>
                <c:pt idx="973">
                  <c:v>40721</c:v>
                </c:pt>
                <c:pt idx="974">
                  <c:v>40722</c:v>
                </c:pt>
                <c:pt idx="975">
                  <c:v>40723</c:v>
                </c:pt>
                <c:pt idx="976">
                  <c:v>40724</c:v>
                </c:pt>
                <c:pt idx="977">
                  <c:v>40725</c:v>
                </c:pt>
                <c:pt idx="978">
                  <c:v>40728</c:v>
                </c:pt>
                <c:pt idx="979">
                  <c:v>40729</c:v>
                </c:pt>
                <c:pt idx="980">
                  <c:v>40730</c:v>
                </c:pt>
                <c:pt idx="981">
                  <c:v>40731</c:v>
                </c:pt>
                <c:pt idx="982">
                  <c:v>40732</c:v>
                </c:pt>
                <c:pt idx="983">
                  <c:v>40735</c:v>
                </c:pt>
                <c:pt idx="984">
                  <c:v>40736</c:v>
                </c:pt>
                <c:pt idx="985">
                  <c:v>40737</c:v>
                </c:pt>
                <c:pt idx="986">
                  <c:v>40738</c:v>
                </c:pt>
                <c:pt idx="987">
                  <c:v>40739</c:v>
                </c:pt>
                <c:pt idx="988">
                  <c:v>40742</c:v>
                </c:pt>
                <c:pt idx="989">
                  <c:v>40743</c:v>
                </c:pt>
                <c:pt idx="990">
                  <c:v>40744</c:v>
                </c:pt>
                <c:pt idx="991">
                  <c:v>40745</c:v>
                </c:pt>
                <c:pt idx="992">
                  <c:v>40746</c:v>
                </c:pt>
                <c:pt idx="993">
                  <c:v>40749</c:v>
                </c:pt>
                <c:pt idx="994">
                  <c:v>40750</c:v>
                </c:pt>
                <c:pt idx="995">
                  <c:v>40751</c:v>
                </c:pt>
                <c:pt idx="996">
                  <c:v>40752</c:v>
                </c:pt>
                <c:pt idx="997">
                  <c:v>40753</c:v>
                </c:pt>
                <c:pt idx="998">
                  <c:v>40756</c:v>
                </c:pt>
                <c:pt idx="999">
                  <c:v>40757</c:v>
                </c:pt>
                <c:pt idx="1000">
                  <c:v>40758</c:v>
                </c:pt>
                <c:pt idx="1001">
                  <c:v>40759</c:v>
                </c:pt>
                <c:pt idx="1002">
                  <c:v>40760</c:v>
                </c:pt>
                <c:pt idx="1003">
                  <c:v>40763</c:v>
                </c:pt>
                <c:pt idx="1004">
                  <c:v>40764</c:v>
                </c:pt>
                <c:pt idx="1005">
                  <c:v>40765</c:v>
                </c:pt>
                <c:pt idx="1006">
                  <c:v>40766</c:v>
                </c:pt>
                <c:pt idx="1007">
                  <c:v>40767</c:v>
                </c:pt>
                <c:pt idx="1008">
                  <c:v>40770</c:v>
                </c:pt>
                <c:pt idx="1009">
                  <c:v>40771</c:v>
                </c:pt>
                <c:pt idx="1010">
                  <c:v>40772</c:v>
                </c:pt>
                <c:pt idx="1011">
                  <c:v>40773</c:v>
                </c:pt>
                <c:pt idx="1012">
                  <c:v>40774</c:v>
                </c:pt>
                <c:pt idx="1013">
                  <c:v>40777</c:v>
                </c:pt>
                <c:pt idx="1014">
                  <c:v>40778</c:v>
                </c:pt>
                <c:pt idx="1015">
                  <c:v>40779</c:v>
                </c:pt>
                <c:pt idx="1016">
                  <c:v>40780</c:v>
                </c:pt>
                <c:pt idx="1017">
                  <c:v>40781</c:v>
                </c:pt>
                <c:pt idx="1018">
                  <c:v>40784</c:v>
                </c:pt>
                <c:pt idx="1019">
                  <c:v>40785</c:v>
                </c:pt>
                <c:pt idx="1020">
                  <c:v>40786</c:v>
                </c:pt>
                <c:pt idx="1021">
                  <c:v>40787</c:v>
                </c:pt>
                <c:pt idx="1022">
                  <c:v>40788</c:v>
                </c:pt>
                <c:pt idx="1023">
                  <c:v>40791</c:v>
                </c:pt>
                <c:pt idx="1024">
                  <c:v>40792</c:v>
                </c:pt>
                <c:pt idx="1025">
                  <c:v>40793</c:v>
                </c:pt>
                <c:pt idx="1026">
                  <c:v>40794</c:v>
                </c:pt>
                <c:pt idx="1027">
                  <c:v>40795</c:v>
                </c:pt>
                <c:pt idx="1028">
                  <c:v>40798</c:v>
                </c:pt>
                <c:pt idx="1029">
                  <c:v>40799</c:v>
                </c:pt>
                <c:pt idx="1030">
                  <c:v>40800</c:v>
                </c:pt>
                <c:pt idx="1031">
                  <c:v>40801</c:v>
                </c:pt>
                <c:pt idx="1032">
                  <c:v>40802</c:v>
                </c:pt>
                <c:pt idx="1033">
                  <c:v>40805</c:v>
                </c:pt>
                <c:pt idx="1034">
                  <c:v>40806</c:v>
                </c:pt>
                <c:pt idx="1035">
                  <c:v>40807</c:v>
                </c:pt>
                <c:pt idx="1036">
                  <c:v>40808</c:v>
                </c:pt>
                <c:pt idx="1037">
                  <c:v>40809</c:v>
                </c:pt>
                <c:pt idx="1038">
                  <c:v>40812</c:v>
                </c:pt>
                <c:pt idx="1039">
                  <c:v>40813</c:v>
                </c:pt>
                <c:pt idx="1040">
                  <c:v>40814</c:v>
                </c:pt>
                <c:pt idx="1041">
                  <c:v>40815</c:v>
                </c:pt>
                <c:pt idx="1042">
                  <c:v>40816</c:v>
                </c:pt>
                <c:pt idx="1043">
                  <c:v>40819</c:v>
                </c:pt>
                <c:pt idx="1044">
                  <c:v>40820</c:v>
                </c:pt>
                <c:pt idx="1045">
                  <c:v>40821</c:v>
                </c:pt>
                <c:pt idx="1046">
                  <c:v>40822</c:v>
                </c:pt>
                <c:pt idx="1047">
                  <c:v>40823</c:v>
                </c:pt>
                <c:pt idx="1048">
                  <c:v>40826</c:v>
                </c:pt>
                <c:pt idx="1049">
                  <c:v>40827</c:v>
                </c:pt>
                <c:pt idx="1050">
                  <c:v>40828</c:v>
                </c:pt>
                <c:pt idx="1051">
                  <c:v>40829</c:v>
                </c:pt>
                <c:pt idx="1052">
                  <c:v>40830</c:v>
                </c:pt>
                <c:pt idx="1053">
                  <c:v>40833</c:v>
                </c:pt>
                <c:pt idx="1054">
                  <c:v>40834</c:v>
                </c:pt>
                <c:pt idx="1055">
                  <c:v>40835</c:v>
                </c:pt>
                <c:pt idx="1056">
                  <c:v>40836</c:v>
                </c:pt>
                <c:pt idx="1057">
                  <c:v>40837</c:v>
                </c:pt>
                <c:pt idx="1058">
                  <c:v>40840</c:v>
                </c:pt>
                <c:pt idx="1059">
                  <c:v>40841</c:v>
                </c:pt>
                <c:pt idx="1060">
                  <c:v>40842</c:v>
                </c:pt>
                <c:pt idx="1061">
                  <c:v>40843</c:v>
                </c:pt>
                <c:pt idx="1062">
                  <c:v>40844</c:v>
                </c:pt>
                <c:pt idx="1063">
                  <c:v>40847</c:v>
                </c:pt>
                <c:pt idx="1064">
                  <c:v>40848</c:v>
                </c:pt>
                <c:pt idx="1065">
                  <c:v>40849</c:v>
                </c:pt>
                <c:pt idx="1066">
                  <c:v>40850</c:v>
                </c:pt>
                <c:pt idx="1067">
                  <c:v>40851</c:v>
                </c:pt>
                <c:pt idx="1068">
                  <c:v>40854</c:v>
                </c:pt>
                <c:pt idx="1069">
                  <c:v>40855</c:v>
                </c:pt>
                <c:pt idx="1070">
                  <c:v>40856</c:v>
                </c:pt>
                <c:pt idx="1071">
                  <c:v>40857</c:v>
                </c:pt>
                <c:pt idx="1072">
                  <c:v>40858</c:v>
                </c:pt>
                <c:pt idx="1073">
                  <c:v>40861</c:v>
                </c:pt>
                <c:pt idx="1074">
                  <c:v>40862</c:v>
                </c:pt>
                <c:pt idx="1075">
                  <c:v>40863</c:v>
                </c:pt>
                <c:pt idx="1076">
                  <c:v>40864</c:v>
                </c:pt>
                <c:pt idx="1077">
                  <c:v>40865</c:v>
                </c:pt>
                <c:pt idx="1078">
                  <c:v>40868</c:v>
                </c:pt>
                <c:pt idx="1079">
                  <c:v>40869</c:v>
                </c:pt>
                <c:pt idx="1080">
                  <c:v>40870</c:v>
                </c:pt>
                <c:pt idx="1081">
                  <c:v>40871</c:v>
                </c:pt>
                <c:pt idx="1082">
                  <c:v>40872</c:v>
                </c:pt>
                <c:pt idx="1083">
                  <c:v>40875</c:v>
                </c:pt>
                <c:pt idx="1084">
                  <c:v>40876</c:v>
                </c:pt>
                <c:pt idx="1085">
                  <c:v>40877</c:v>
                </c:pt>
                <c:pt idx="1086">
                  <c:v>40878</c:v>
                </c:pt>
                <c:pt idx="1087">
                  <c:v>40879</c:v>
                </c:pt>
                <c:pt idx="1088">
                  <c:v>40882</c:v>
                </c:pt>
                <c:pt idx="1089">
                  <c:v>40883</c:v>
                </c:pt>
                <c:pt idx="1090">
                  <c:v>40884</c:v>
                </c:pt>
                <c:pt idx="1091">
                  <c:v>40885</c:v>
                </c:pt>
                <c:pt idx="1092">
                  <c:v>40886</c:v>
                </c:pt>
                <c:pt idx="1093">
                  <c:v>40889</c:v>
                </c:pt>
                <c:pt idx="1094">
                  <c:v>40890</c:v>
                </c:pt>
                <c:pt idx="1095">
                  <c:v>40891</c:v>
                </c:pt>
                <c:pt idx="1096">
                  <c:v>40892</c:v>
                </c:pt>
                <c:pt idx="1097">
                  <c:v>40893</c:v>
                </c:pt>
                <c:pt idx="1098">
                  <c:v>40896</c:v>
                </c:pt>
                <c:pt idx="1099">
                  <c:v>40897</c:v>
                </c:pt>
                <c:pt idx="1100">
                  <c:v>40898</c:v>
                </c:pt>
                <c:pt idx="1101">
                  <c:v>40899</c:v>
                </c:pt>
                <c:pt idx="1102">
                  <c:v>40900</c:v>
                </c:pt>
                <c:pt idx="1103">
                  <c:v>40904</c:v>
                </c:pt>
                <c:pt idx="1104">
                  <c:v>40905</c:v>
                </c:pt>
                <c:pt idx="1105">
                  <c:v>40906</c:v>
                </c:pt>
                <c:pt idx="1106">
                  <c:v>40907</c:v>
                </c:pt>
                <c:pt idx="1107">
                  <c:v>40910</c:v>
                </c:pt>
                <c:pt idx="1108">
                  <c:v>40911</c:v>
                </c:pt>
                <c:pt idx="1109">
                  <c:v>40912</c:v>
                </c:pt>
                <c:pt idx="1110">
                  <c:v>40913</c:v>
                </c:pt>
                <c:pt idx="1111">
                  <c:v>40914</c:v>
                </c:pt>
                <c:pt idx="1112">
                  <c:v>40917</c:v>
                </c:pt>
                <c:pt idx="1113">
                  <c:v>40918</c:v>
                </c:pt>
                <c:pt idx="1114">
                  <c:v>40919</c:v>
                </c:pt>
                <c:pt idx="1115">
                  <c:v>40920</c:v>
                </c:pt>
                <c:pt idx="1116">
                  <c:v>40921</c:v>
                </c:pt>
                <c:pt idx="1117">
                  <c:v>40924</c:v>
                </c:pt>
                <c:pt idx="1118">
                  <c:v>40925</c:v>
                </c:pt>
                <c:pt idx="1119">
                  <c:v>40926</c:v>
                </c:pt>
                <c:pt idx="1120">
                  <c:v>40927</c:v>
                </c:pt>
                <c:pt idx="1121">
                  <c:v>40928</c:v>
                </c:pt>
                <c:pt idx="1122">
                  <c:v>40931</c:v>
                </c:pt>
                <c:pt idx="1123">
                  <c:v>40932</c:v>
                </c:pt>
                <c:pt idx="1124">
                  <c:v>40933</c:v>
                </c:pt>
                <c:pt idx="1125">
                  <c:v>40934</c:v>
                </c:pt>
                <c:pt idx="1126">
                  <c:v>40935</c:v>
                </c:pt>
                <c:pt idx="1127">
                  <c:v>40938</c:v>
                </c:pt>
                <c:pt idx="1128">
                  <c:v>40939</c:v>
                </c:pt>
                <c:pt idx="1129">
                  <c:v>40940</c:v>
                </c:pt>
                <c:pt idx="1130">
                  <c:v>40941</c:v>
                </c:pt>
                <c:pt idx="1131">
                  <c:v>40942</c:v>
                </c:pt>
                <c:pt idx="1132">
                  <c:v>40945</c:v>
                </c:pt>
                <c:pt idx="1133">
                  <c:v>40946</c:v>
                </c:pt>
                <c:pt idx="1134">
                  <c:v>40947</c:v>
                </c:pt>
                <c:pt idx="1135">
                  <c:v>40948</c:v>
                </c:pt>
                <c:pt idx="1136">
                  <c:v>40949</c:v>
                </c:pt>
                <c:pt idx="1137">
                  <c:v>40952</c:v>
                </c:pt>
                <c:pt idx="1138">
                  <c:v>40953</c:v>
                </c:pt>
                <c:pt idx="1139">
                  <c:v>40954</c:v>
                </c:pt>
                <c:pt idx="1140">
                  <c:v>40955</c:v>
                </c:pt>
                <c:pt idx="1141">
                  <c:v>40956</c:v>
                </c:pt>
                <c:pt idx="1142">
                  <c:v>40959</c:v>
                </c:pt>
                <c:pt idx="1143">
                  <c:v>40960</c:v>
                </c:pt>
                <c:pt idx="1144">
                  <c:v>40961</c:v>
                </c:pt>
                <c:pt idx="1145">
                  <c:v>40962</c:v>
                </c:pt>
                <c:pt idx="1146">
                  <c:v>40963</c:v>
                </c:pt>
                <c:pt idx="1147">
                  <c:v>40966</c:v>
                </c:pt>
                <c:pt idx="1148">
                  <c:v>40967</c:v>
                </c:pt>
                <c:pt idx="1149">
                  <c:v>40968</c:v>
                </c:pt>
                <c:pt idx="1150">
                  <c:v>40969</c:v>
                </c:pt>
                <c:pt idx="1151">
                  <c:v>40970</c:v>
                </c:pt>
                <c:pt idx="1152">
                  <c:v>40973</c:v>
                </c:pt>
                <c:pt idx="1153">
                  <c:v>40974</c:v>
                </c:pt>
                <c:pt idx="1154">
                  <c:v>40975</c:v>
                </c:pt>
                <c:pt idx="1155">
                  <c:v>40976</c:v>
                </c:pt>
                <c:pt idx="1156">
                  <c:v>40977</c:v>
                </c:pt>
                <c:pt idx="1157">
                  <c:v>40980</c:v>
                </c:pt>
                <c:pt idx="1158">
                  <c:v>40981</c:v>
                </c:pt>
                <c:pt idx="1159">
                  <c:v>40982</c:v>
                </c:pt>
                <c:pt idx="1160">
                  <c:v>40983</c:v>
                </c:pt>
                <c:pt idx="1161">
                  <c:v>40984</c:v>
                </c:pt>
                <c:pt idx="1162">
                  <c:v>40987</c:v>
                </c:pt>
                <c:pt idx="1163">
                  <c:v>40988</c:v>
                </c:pt>
                <c:pt idx="1164">
                  <c:v>40989</c:v>
                </c:pt>
                <c:pt idx="1165">
                  <c:v>40990</c:v>
                </c:pt>
                <c:pt idx="1166">
                  <c:v>40991</c:v>
                </c:pt>
                <c:pt idx="1167">
                  <c:v>40994</c:v>
                </c:pt>
                <c:pt idx="1168">
                  <c:v>40995</c:v>
                </c:pt>
                <c:pt idx="1169">
                  <c:v>40996</c:v>
                </c:pt>
                <c:pt idx="1170">
                  <c:v>40997</c:v>
                </c:pt>
                <c:pt idx="1171">
                  <c:v>40998</c:v>
                </c:pt>
                <c:pt idx="1172">
                  <c:v>41001</c:v>
                </c:pt>
                <c:pt idx="1173">
                  <c:v>41002</c:v>
                </c:pt>
                <c:pt idx="1174">
                  <c:v>41003</c:v>
                </c:pt>
                <c:pt idx="1175">
                  <c:v>41004</c:v>
                </c:pt>
                <c:pt idx="1176">
                  <c:v>41009</c:v>
                </c:pt>
                <c:pt idx="1177">
                  <c:v>41010</c:v>
                </c:pt>
                <c:pt idx="1178">
                  <c:v>41011</c:v>
                </c:pt>
                <c:pt idx="1179">
                  <c:v>41012</c:v>
                </c:pt>
                <c:pt idx="1180">
                  <c:v>41015</c:v>
                </c:pt>
                <c:pt idx="1181">
                  <c:v>41016</c:v>
                </c:pt>
                <c:pt idx="1182">
                  <c:v>41017</c:v>
                </c:pt>
                <c:pt idx="1183">
                  <c:v>41018</c:v>
                </c:pt>
                <c:pt idx="1184">
                  <c:v>41019</c:v>
                </c:pt>
                <c:pt idx="1185">
                  <c:v>41022</c:v>
                </c:pt>
                <c:pt idx="1186">
                  <c:v>41023</c:v>
                </c:pt>
                <c:pt idx="1187">
                  <c:v>41024</c:v>
                </c:pt>
                <c:pt idx="1188">
                  <c:v>41025</c:v>
                </c:pt>
                <c:pt idx="1189">
                  <c:v>41026</c:v>
                </c:pt>
                <c:pt idx="1190">
                  <c:v>41029</c:v>
                </c:pt>
                <c:pt idx="1191">
                  <c:v>41030</c:v>
                </c:pt>
                <c:pt idx="1192">
                  <c:v>41031</c:v>
                </c:pt>
                <c:pt idx="1193">
                  <c:v>41032</c:v>
                </c:pt>
                <c:pt idx="1194">
                  <c:v>41033</c:v>
                </c:pt>
                <c:pt idx="1195">
                  <c:v>41036</c:v>
                </c:pt>
                <c:pt idx="1196">
                  <c:v>41037</c:v>
                </c:pt>
                <c:pt idx="1197">
                  <c:v>41038</c:v>
                </c:pt>
                <c:pt idx="1198">
                  <c:v>41039</c:v>
                </c:pt>
                <c:pt idx="1199">
                  <c:v>41040</c:v>
                </c:pt>
                <c:pt idx="1200">
                  <c:v>41043</c:v>
                </c:pt>
                <c:pt idx="1201">
                  <c:v>41044</c:v>
                </c:pt>
                <c:pt idx="1202">
                  <c:v>41045</c:v>
                </c:pt>
                <c:pt idx="1203">
                  <c:v>41046</c:v>
                </c:pt>
                <c:pt idx="1204">
                  <c:v>41047</c:v>
                </c:pt>
                <c:pt idx="1205">
                  <c:v>41050</c:v>
                </c:pt>
                <c:pt idx="1206">
                  <c:v>41051</c:v>
                </c:pt>
                <c:pt idx="1207">
                  <c:v>41052</c:v>
                </c:pt>
                <c:pt idx="1208">
                  <c:v>41053</c:v>
                </c:pt>
                <c:pt idx="1209">
                  <c:v>41054</c:v>
                </c:pt>
                <c:pt idx="1210">
                  <c:v>41057</c:v>
                </c:pt>
                <c:pt idx="1211">
                  <c:v>41058</c:v>
                </c:pt>
                <c:pt idx="1212">
                  <c:v>41059</c:v>
                </c:pt>
                <c:pt idx="1213">
                  <c:v>41060</c:v>
                </c:pt>
                <c:pt idx="1214">
                  <c:v>41061</c:v>
                </c:pt>
                <c:pt idx="1215">
                  <c:v>41064</c:v>
                </c:pt>
                <c:pt idx="1216">
                  <c:v>41065</c:v>
                </c:pt>
                <c:pt idx="1217">
                  <c:v>41066</c:v>
                </c:pt>
                <c:pt idx="1218">
                  <c:v>41067</c:v>
                </c:pt>
                <c:pt idx="1219">
                  <c:v>41068</c:v>
                </c:pt>
                <c:pt idx="1220">
                  <c:v>41071</c:v>
                </c:pt>
                <c:pt idx="1221">
                  <c:v>41072</c:v>
                </c:pt>
                <c:pt idx="1222">
                  <c:v>41073</c:v>
                </c:pt>
                <c:pt idx="1223">
                  <c:v>41074</c:v>
                </c:pt>
                <c:pt idx="1224">
                  <c:v>41075</c:v>
                </c:pt>
                <c:pt idx="1225">
                  <c:v>41078</c:v>
                </c:pt>
                <c:pt idx="1226">
                  <c:v>41079</c:v>
                </c:pt>
                <c:pt idx="1227">
                  <c:v>41080</c:v>
                </c:pt>
                <c:pt idx="1228">
                  <c:v>41081</c:v>
                </c:pt>
                <c:pt idx="1229">
                  <c:v>41082</c:v>
                </c:pt>
                <c:pt idx="1230">
                  <c:v>41085</c:v>
                </c:pt>
                <c:pt idx="1231">
                  <c:v>41086</c:v>
                </c:pt>
                <c:pt idx="1232">
                  <c:v>41087</c:v>
                </c:pt>
                <c:pt idx="1233">
                  <c:v>41088</c:v>
                </c:pt>
                <c:pt idx="1234">
                  <c:v>41089</c:v>
                </c:pt>
                <c:pt idx="1235">
                  <c:v>41092</c:v>
                </c:pt>
                <c:pt idx="1236">
                  <c:v>41093</c:v>
                </c:pt>
                <c:pt idx="1237">
                  <c:v>41094</c:v>
                </c:pt>
                <c:pt idx="1238">
                  <c:v>41095</c:v>
                </c:pt>
                <c:pt idx="1239">
                  <c:v>41096</c:v>
                </c:pt>
                <c:pt idx="1240">
                  <c:v>41099</c:v>
                </c:pt>
                <c:pt idx="1241">
                  <c:v>41100</c:v>
                </c:pt>
                <c:pt idx="1242">
                  <c:v>41101</c:v>
                </c:pt>
                <c:pt idx="1243">
                  <c:v>41102</c:v>
                </c:pt>
                <c:pt idx="1244">
                  <c:v>41103</c:v>
                </c:pt>
                <c:pt idx="1245">
                  <c:v>41106</c:v>
                </c:pt>
                <c:pt idx="1246">
                  <c:v>41107</c:v>
                </c:pt>
                <c:pt idx="1247">
                  <c:v>41108</c:v>
                </c:pt>
                <c:pt idx="1248">
                  <c:v>41109</c:v>
                </c:pt>
                <c:pt idx="1249">
                  <c:v>41110</c:v>
                </c:pt>
                <c:pt idx="1250">
                  <c:v>41113</c:v>
                </c:pt>
                <c:pt idx="1251">
                  <c:v>41114</c:v>
                </c:pt>
                <c:pt idx="1252">
                  <c:v>41115</c:v>
                </c:pt>
                <c:pt idx="1253">
                  <c:v>41116</c:v>
                </c:pt>
                <c:pt idx="1254">
                  <c:v>41117</c:v>
                </c:pt>
                <c:pt idx="1255">
                  <c:v>41120</c:v>
                </c:pt>
                <c:pt idx="1256">
                  <c:v>41121</c:v>
                </c:pt>
                <c:pt idx="1257">
                  <c:v>41122</c:v>
                </c:pt>
                <c:pt idx="1258">
                  <c:v>41123</c:v>
                </c:pt>
                <c:pt idx="1259">
                  <c:v>41124</c:v>
                </c:pt>
                <c:pt idx="1260">
                  <c:v>41127</c:v>
                </c:pt>
                <c:pt idx="1261">
                  <c:v>41128</c:v>
                </c:pt>
                <c:pt idx="1262">
                  <c:v>41129</c:v>
                </c:pt>
                <c:pt idx="1263">
                  <c:v>41130</c:v>
                </c:pt>
                <c:pt idx="1264">
                  <c:v>41131</c:v>
                </c:pt>
                <c:pt idx="1265">
                  <c:v>41134</c:v>
                </c:pt>
                <c:pt idx="1266">
                  <c:v>41135</c:v>
                </c:pt>
                <c:pt idx="1267">
                  <c:v>41136</c:v>
                </c:pt>
                <c:pt idx="1268">
                  <c:v>41137</c:v>
                </c:pt>
                <c:pt idx="1269">
                  <c:v>41138</c:v>
                </c:pt>
                <c:pt idx="1270">
                  <c:v>41141</c:v>
                </c:pt>
                <c:pt idx="1271">
                  <c:v>41142</c:v>
                </c:pt>
                <c:pt idx="1272">
                  <c:v>41143</c:v>
                </c:pt>
                <c:pt idx="1273">
                  <c:v>41144</c:v>
                </c:pt>
                <c:pt idx="1274">
                  <c:v>41145</c:v>
                </c:pt>
                <c:pt idx="1275">
                  <c:v>41148</c:v>
                </c:pt>
                <c:pt idx="1276">
                  <c:v>41149</c:v>
                </c:pt>
                <c:pt idx="1277">
                  <c:v>41150</c:v>
                </c:pt>
                <c:pt idx="1278">
                  <c:v>41151</c:v>
                </c:pt>
                <c:pt idx="1279">
                  <c:v>41152</c:v>
                </c:pt>
                <c:pt idx="1280">
                  <c:v>41155</c:v>
                </c:pt>
                <c:pt idx="1281">
                  <c:v>41156</c:v>
                </c:pt>
                <c:pt idx="1282">
                  <c:v>41157</c:v>
                </c:pt>
                <c:pt idx="1283">
                  <c:v>41158</c:v>
                </c:pt>
                <c:pt idx="1284">
                  <c:v>41159</c:v>
                </c:pt>
                <c:pt idx="1285">
                  <c:v>41162</c:v>
                </c:pt>
                <c:pt idx="1286">
                  <c:v>41163</c:v>
                </c:pt>
                <c:pt idx="1287">
                  <c:v>41164</c:v>
                </c:pt>
                <c:pt idx="1288">
                  <c:v>41165</c:v>
                </c:pt>
                <c:pt idx="1289">
                  <c:v>41166</c:v>
                </c:pt>
                <c:pt idx="1290">
                  <c:v>41169</c:v>
                </c:pt>
                <c:pt idx="1291">
                  <c:v>41170</c:v>
                </c:pt>
                <c:pt idx="1292">
                  <c:v>41171</c:v>
                </c:pt>
                <c:pt idx="1293">
                  <c:v>41172</c:v>
                </c:pt>
                <c:pt idx="1294">
                  <c:v>41173</c:v>
                </c:pt>
                <c:pt idx="1295">
                  <c:v>41176</c:v>
                </c:pt>
                <c:pt idx="1296">
                  <c:v>41177</c:v>
                </c:pt>
                <c:pt idx="1297">
                  <c:v>41178</c:v>
                </c:pt>
                <c:pt idx="1298">
                  <c:v>41179</c:v>
                </c:pt>
                <c:pt idx="1299">
                  <c:v>41180</c:v>
                </c:pt>
                <c:pt idx="1300">
                  <c:v>41183</c:v>
                </c:pt>
                <c:pt idx="1301">
                  <c:v>41184</c:v>
                </c:pt>
                <c:pt idx="1302">
                  <c:v>41185</c:v>
                </c:pt>
                <c:pt idx="1303">
                  <c:v>41186</c:v>
                </c:pt>
                <c:pt idx="1304">
                  <c:v>41187</c:v>
                </c:pt>
                <c:pt idx="1305">
                  <c:v>41190</c:v>
                </c:pt>
                <c:pt idx="1306">
                  <c:v>41191</c:v>
                </c:pt>
                <c:pt idx="1307">
                  <c:v>41192</c:v>
                </c:pt>
                <c:pt idx="1308">
                  <c:v>41193</c:v>
                </c:pt>
                <c:pt idx="1309">
                  <c:v>41194</c:v>
                </c:pt>
                <c:pt idx="1310">
                  <c:v>41197</c:v>
                </c:pt>
                <c:pt idx="1311">
                  <c:v>41198</c:v>
                </c:pt>
                <c:pt idx="1312">
                  <c:v>41199</c:v>
                </c:pt>
                <c:pt idx="1313">
                  <c:v>41200</c:v>
                </c:pt>
                <c:pt idx="1314">
                  <c:v>41201</c:v>
                </c:pt>
                <c:pt idx="1315">
                  <c:v>41204</c:v>
                </c:pt>
                <c:pt idx="1316">
                  <c:v>41205</c:v>
                </c:pt>
                <c:pt idx="1317">
                  <c:v>41206</c:v>
                </c:pt>
                <c:pt idx="1318">
                  <c:v>41207</c:v>
                </c:pt>
                <c:pt idx="1319">
                  <c:v>41208</c:v>
                </c:pt>
                <c:pt idx="1320">
                  <c:v>41211</c:v>
                </c:pt>
                <c:pt idx="1321">
                  <c:v>41212</c:v>
                </c:pt>
                <c:pt idx="1322">
                  <c:v>41213</c:v>
                </c:pt>
                <c:pt idx="1323">
                  <c:v>41214</c:v>
                </c:pt>
                <c:pt idx="1324">
                  <c:v>41215</c:v>
                </c:pt>
                <c:pt idx="1325">
                  <c:v>41218</c:v>
                </c:pt>
                <c:pt idx="1326">
                  <c:v>41219</c:v>
                </c:pt>
                <c:pt idx="1327">
                  <c:v>41220</c:v>
                </c:pt>
                <c:pt idx="1328">
                  <c:v>41221</c:v>
                </c:pt>
                <c:pt idx="1329">
                  <c:v>41222</c:v>
                </c:pt>
                <c:pt idx="1330">
                  <c:v>41225</c:v>
                </c:pt>
                <c:pt idx="1331">
                  <c:v>41226</c:v>
                </c:pt>
                <c:pt idx="1332">
                  <c:v>41227</c:v>
                </c:pt>
                <c:pt idx="1333">
                  <c:v>41228</c:v>
                </c:pt>
                <c:pt idx="1334">
                  <c:v>41229</c:v>
                </c:pt>
                <c:pt idx="1335">
                  <c:v>41232</c:v>
                </c:pt>
                <c:pt idx="1336">
                  <c:v>41233</c:v>
                </c:pt>
                <c:pt idx="1337">
                  <c:v>41234</c:v>
                </c:pt>
                <c:pt idx="1338">
                  <c:v>41235</c:v>
                </c:pt>
                <c:pt idx="1339">
                  <c:v>41236</c:v>
                </c:pt>
                <c:pt idx="1340">
                  <c:v>41239</c:v>
                </c:pt>
                <c:pt idx="1341">
                  <c:v>41240</c:v>
                </c:pt>
                <c:pt idx="1342">
                  <c:v>41241</c:v>
                </c:pt>
                <c:pt idx="1343">
                  <c:v>41242</c:v>
                </c:pt>
                <c:pt idx="1344">
                  <c:v>41243</c:v>
                </c:pt>
                <c:pt idx="1345">
                  <c:v>41246</c:v>
                </c:pt>
                <c:pt idx="1346">
                  <c:v>41247</c:v>
                </c:pt>
                <c:pt idx="1347">
                  <c:v>41248</c:v>
                </c:pt>
                <c:pt idx="1348">
                  <c:v>41249</c:v>
                </c:pt>
                <c:pt idx="1349">
                  <c:v>41250</c:v>
                </c:pt>
                <c:pt idx="1350">
                  <c:v>41253</c:v>
                </c:pt>
                <c:pt idx="1351">
                  <c:v>41254</c:v>
                </c:pt>
                <c:pt idx="1352">
                  <c:v>41255</c:v>
                </c:pt>
                <c:pt idx="1353">
                  <c:v>41256</c:v>
                </c:pt>
                <c:pt idx="1354">
                  <c:v>41257</c:v>
                </c:pt>
                <c:pt idx="1355">
                  <c:v>41260</c:v>
                </c:pt>
                <c:pt idx="1356">
                  <c:v>41261</c:v>
                </c:pt>
                <c:pt idx="1357">
                  <c:v>41262</c:v>
                </c:pt>
                <c:pt idx="1358">
                  <c:v>41263</c:v>
                </c:pt>
                <c:pt idx="1359">
                  <c:v>41264</c:v>
                </c:pt>
                <c:pt idx="1360">
                  <c:v>41267</c:v>
                </c:pt>
                <c:pt idx="1361">
                  <c:v>41270</c:v>
                </c:pt>
                <c:pt idx="1362">
                  <c:v>41271</c:v>
                </c:pt>
                <c:pt idx="1363">
                  <c:v>41274</c:v>
                </c:pt>
                <c:pt idx="1364">
                  <c:v>41276</c:v>
                </c:pt>
                <c:pt idx="1365">
                  <c:v>41277</c:v>
                </c:pt>
                <c:pt idx="1366">
                  <c:v>41278</c:v>
                </c:pt>
                <c:pt idx="1367">
                  <c:v>41281</c:v>
                </c:pt>
                <c:pt idx="1368">
                  <c:v>41282</c:v>
                </c:pt>
                <c:pt idx="1369">
                  <c:v>41283</c:v>
                </c:pt>
                <c:pt idx="1370">
                  <c:v>41284</c:v>
                </c:pt>
                <c:pt idx="1371">
                  <c:v>41285</c:v>
                </c:pt>
                <c:pt idx="1372">
                  <c:v>41288</c:v>
                </c:pt>
                <c:pt idx="1373">
                  <c:v>41289</c:v>
                </c:pt>
                <c:pt idx="1374">
                  <c:v>41290</c:v>
                </c:pt>
                <c:pt idx="1375">
                  <c:v>41291</c:v>
                </c:pt>
                <c:pt idx="1376">
                  <c:v>41292</c:v>
                </c:pt>
                <c:pt idx="1377">
                  <c:v>41295</c:v>
                </c:pt>
                <c:pt idx="1378">
                  <c:v>41296</c:v>
                </c:pt>
                <c:pt idx="1379">
                  <c:v>41297</c:v>
                </c:pt>
                <c:pt idx="1380">
                  <c:v>41298</c:v>
                </c:pt>
                <c:pt idx="1381">
                  <c:v>41299</c:v>
                </c:pt>
                <c:pt idx="1382">
                  <c:v>41302</c:v>
                </c:pt>
                <c:pt idx="1383">
                  <c:v>41303</c:v>
                </c:pt>
                <c:pt idx="1384">
                  <c:v>41304</c:v>
                </c:pt>
                <c:pt idx="1385">
                  <c:v>41305</c:v>
                </c:pt>
                <c:pt idx="1386">
                  <c:v>41306</c:v>
                </c:pt>
                <c:pt idx="1387">
                  <c:v>41309</c:v>
                </c:pt>
                <c:pt idx="1388">
                  <c:v>41310</c:v>
                </c:pt>
                <c:pt idx="1389">
                  <c:v>41311</c:v>
                </c:pt>
                <c:pt idx="1390">
                  <c:v>41312</c:v>
                </c:pt>
                <c:pt idx="1391">
                  <c:v>41313</c:v>
                </c:pt>
                <c:pt idx="1392">
                  <c:v>41316</c:v>
                </c:pt>
                <c:pt idx="1393">
                  <c:v>41317</c:v>
                </c:pt>
                <c:pt idx="1394">
                  <c:v>41318</c:v>
                </c:pt>
                <c:pt idx="1395">
                  <c:v>41319</c:v>
                </c:pt>
                <c:pt idx="1396">
                  <c:v>41320</c:v>
                </c:pt>
                <c:pt idx="1397">
                  <c:v>41323</c:v>
                </c:pt>
                <c:pt idx="1398">
                  <c:v>41324</c:v>
                </c:pt>
                <c:pt idx="1399">
                  <c:v>41325</c:v>
                </c:pt>
                <c:pt idx="1400">
                  <c:v>41326</c:v>
                </c:pt>
                <c:pt idx="1401">
                  <c:v>41327</c:v>
                </c:pt>
                <c:pt idx="1402">
                  <c:v>41330</c:v>
                </c:pt>
                <c:pt idx="1403">
                  <c:v>41331</c:v>
                </c:pt>
                <c:pt idx="1404">
                  <c:v>41332</c:v>
                </c:pt>
                <c:pt idx="1405">
                  <c:v>41333</c:v>
                </c:pt>
                <c:pt idx="1406">
                  <c:v>41334</c:v>
                </c:pt>
                <c:pt idx="1407">
                  <c:v>41337</c:v>
                </c:pt>
                <c:pt idx="1408">
                  <c:v>41338</c:v>
                </c:pt>
                <c:pt idx="1409">
                  <c:v>41339</c:v>
                </c:pt>
                <c:pt idx="1410">
                  <c:v>41340</c:v>
                </c:pt>
                <c:pt idx="1411">
                  <c:v>41341</c:v>
                </c:pt>
                <c:pt idx="1412">
                  <c:v>41344</c:v>
                </c:pt>
                <c:pt idx="1413">
                  <c:v>41345</c:v>
                </c:pt>
                <c:pt idx="1414">
                  <c:v>41346</c:v>
                </c:pt>
                <c:pt idx="1415">
                  <c:v>41347</c:v>
                </c:pt>
                <c:pt idx="1416">
                  <c:v>41348</c:v>
                </c:pt>
                <c:pt idx="1417">
                  <c:v>41351</c:v>
                </c:pt>
                <c:pt idx="1418">
                  <c:v>41352</c:v>
                </c:pt>
                <c:pt idx="1419">
                  <c:v>41353</c:v>
                </c:pt>
                <c:pt idx="1420">
                  <c:v>41354</c:v>
                </c:pt>
                <c:pt idx="1421">
                  <c:v>41355</c:v>
                </c:pt>
                <c:pt idx="1422">
                  <c:v>41358</c:v>
                </c:pt>
                <c:pt idx="1423">
                  <c:v>41359</c:v>
                </c:pt>
                <c:pt idx="1424">
                  <c:v>41360</c:v>
                </c:pt>
                <c:pt idx="1425">
                  <c:v>41361</c:v>
                </c:pt>
                <c:pt idx="1426">
                  <c:v>41366</c:v>
                </c:pt>
                <c:pt idx="1427">
                  <c:v>41367</c:v>
                </c:pt>
                <c:pt idx="1428">
                  <c:v>41368</c:v>
                </c:pt>
                <c:pt idx="1429">
                  <c:v>41369</c:v>
                </c:pt>
                <c:pt idx="1430">
                  <c:v>41372</c:v>
                </c:pt>
                <c:pt idx="1431">
                  <c:v>41373</c:v>
                </c:pt>
                <c:pt idx="1432">
                  <c:v>41374</c:v>
                </c:pt>
                <c:pt idx="1433">
                  <c:v>41375</c:v>
                </c:pt>
                <c:pt idx="1434">
                  <c:v>41376</c:v>
                </c:pt>
                <c:pt idx="1435">
                  <c:v>41379</c:v>
                </c:pt>
                <c:pt idx="1436">
                  <c:v>41380</c:v>
                </c:pt>
                <c:pt idx="1437">
                  <c:v>41381</c:v>
                </c:pt>
                <c:pt idx="1438">
                  <c:v>41382</c:v>
                </c:pt>
                <c:pt idx="1439">
                  <c:v>41383</c:v>
                </c:pt>
                <c:pt idx="1440">
                  <c:v>41386</c:v>
                </c:pt>
                <c:pt idx="1441">
                  <c:v>41387</c:v>
                </c:pt>
                <c:pt idx="1442">
                  <c:v>41388</c:v>
                </c:pt>
                <c:pt idx="1443">
                  <c:v>41389</c:v>
                </c:pt>
                <c:pt idx="1444">
                  <c:v>41390</c:v>
                </c:pt>
                <c:pt idx="1445">
                  <c:v>41393</c:v>
                </c:pt>
                <c:pt idx="1446">
                  <c:v>41394</c:v>
                </c:pt>
                <c:pt idx="1447">
                  <c:v>41395</c:v>
                </c:pt>
                <c:pt idx="1448">
                  <c:v>41396</c:v>
                </c:pt>
                <c:pt idx="1449">
                  <c:v>41397</c:v>
                </c:pt>
                <c:pt idx="1450">
                  <c:v>41400</c:v>
                </c:pt>
                <c:pt idx="1451">
                  <c:v>41401</c:v>
                </c:pt>
                <c:pt idx="1452">
                  <c:v>41402</c:v>
                </c:pt>
                <c:pt idx="1453">
                  <c:v>41403</c:v>
                </c:pt>
                <c:pt idx="1454">
                  <c:v>41404</c:v>
                </c:pt>
                <c:pt idx="1455">
                  <c:v>41407</c:v>
                </c:pt>
                <c:pt idx="1456">
                  <c:v>41408</c:v>
                </c:pt>
                <c:pt idx="1457">
                  <c:v>41409</c:v>
                </c:pt>
                <c:pt idx="1458">
                  <c:v>41410</c:v>
                </c:pt>
                <c:pt idx="1459">
                  <c:v>41411</c:v>
                </c:pt>
                <c:pt idx="1460">
                  <c:v>41414</c:v>
                </c:pt>
                <c:pt idx="1461">
                  <c:v>41415</c:v>
                </c:pt>
                <c:pt idx="1462">
                  <c:v>41416</c:v>
                </c:pt>
                <c:pt idx="1463">
                  <c:v>41417</c:v>
                </c:pt>
                <c:pt idx="1464">
                  <c:v>41418</c:v>
                </c:pt>
                <c:pt idx="1465">
                  <c:v>41421</c:v>
                </c:pt>
                <c:pt idx="1466">
                  <c:v>41422</c:v>
                </c:pt>
                <c:pt idx="1467">
                  <c:v>41423</c:v>
                </c:pt>
                <c:pt idx="1468">
                  <c:v>41424</c:v>
                </c:pt>
                <c:pt idx="1469">
                  <c:v>41425</c:v>
                </c:pt>
                <c:pt idx="1470">
                  <c:v>41428</c:v>
                </c:pt>
                <c:pt idx="1471">
                  <c:v>41429</c:v>
                </c:pt>
                <c:pt idx="1472">
                  <c:v>41430</c:v>
                </c:pt>
                <c:pt idx="1473">
                  <c:v>41431</c:v>
                </c:pt>
                <c:pt idx="1474">
                  <c:v>41432</c:v>
                </c:pt>
                <c:pt idx="1475">
                  <c:v>41435</c:v>
                </c:pt>
                <c:pt idx="1476">
                  <c:v>41436</c:v>
                </c:pt>
                <c:pt idx="1477">
                  <c:v>41437</c:v>
                </c:pt>
                <c:pt idx="1478">
                  <c:v>41438</c:v>
                </c:pt>
                <c:pt idx="1479">
                  <c:v>41439</c:v>
                </c:pt>
                <c:pt idx="1480">
                  <c:v>41442</c:v>
                </c:pt>
                <c:pt idx="1481">
                  <c:v>41443</c:v>
                </c:pt>
                <c:pt idx="1482">
                  <c:v>41444</c:v>
                </c:pt>
                <c:pt idx="1483">
                  <c:v>41445</c:v>
                </c:pt>
                <c:pt idx="1484">
                  <c:v>41446</c:v>
                </c:pt>
                <c:pt idx="1485">
                  <c:v>41449</c:v>
                </c:pt>
                <c:pt idx="1486">
                  <c:v>41450</c:v>
                </c:pt>
                <c:pt idx="1487">
                  <c:v>41451</c:v>
                </c:pt>
                <c:pt idx="1488">
                  <c:v>41452</c:v>
                </c:pt>
                <c:pt idx="1489">
                  <c:v>41453</c:v>
                </c:pt>
                <c:pt idx="1490">
                  <c:v>41456</c:v>
                </c:pt>
                <c:pt idx="1491">
                  <c:v>41457</c:v>
                </c:pt>
                <c:pt idx="1492">
                  <c:v>41458</c:v>
                </c:pt>
                <c:pt idx="1493">
                  <c:v>41459</c:v>
                </c:pt>
                <c:pt idx="1494">
                  <c:v>41460</c:v>
                </c:pt>
                <c:pt idx="1495">
                  <c:v>41463</c:v>
                </c:pt>
                <c:pt idx="1496">
                  <c:v>41464</c:v>
                </c:pt>
                <c:pt idx="1497">
                  <c:v>41465</c:v>
                </c:pt>
                <c:pt idx="1498">
                  <c:v>41466</c:v>
                </c:pt>
                <c:pt idx="1499">
                  <c:v>41467</c:v>
                </c:pt>
                <c:pt idx="1500">
                  <c:v>41470</c:v>
                </c:pt>
                <c:pt idx="1501">
                  <c:v>41471</c:v>
                </c:pt>
                <c:pt idx="1502">
                  <c:v>41472</c:v>
                </c:pt>
                <c:pt idx="1503">
                  <c:v>41473</c:v>
                </c:pt>
                <c:pt idx="1504">
                  <c:v>41474</c:v>
                </c:pt>
                <c:pt idx="1505">
                  <c:v>41477</c:v>
                </c:pt>
                <c:pt idx="1506">
                  <c:v>41478</c:v>
                </c:pt>
                <c:pt idx="1507">
                  <c:v>41479</c:v>
                </c:pt>
                <c:pt idx="1508">
                  <c:v>41480</c:v>
                </c:pt>
                <c:pt idx="1509">
                  <c:v>41481</c:v>
                </c:pt>
                <c:pt idx="1510">
                  <c:v>41484</c:v>
                </c:pt>
                <c:pt idx="1511">
                  <c:v>41485</c:v>
                </c:pt>
                <c:pt idx="1512">
                  <c:v>41486</c:v>
                </c:pt>
                <c:pt idx="1513">
                  <c:v>41487</c:v>
                </c:pt>
                <c:pt idx="1514">
                  <c:v>41488</c:v>
                </c:pt>
                <c:pt idx="1515">
                  <c:v>41491</c:v>
                </c:pt>
                <c:pt idx="1516">
                  <c:v>41492</c:v>
                </c:pt>
                <c:pt idx="1517">
                  <c:v>41493</c:v>
                </c:pt>
                <c:pt idx="1518">
                  <c:v>41494</c:v>
                </c:pt>
                <c:pt idx="1519">
                  <c:v>41495</c:v>
                </c:pt>
                <c:pt idx="1520">
                  <c:v>41498</c:v>
                </c:pt>
                <c:pt idx="1521">
                  <c:v>41499</c:v>
                </c:pt>
                <c:pt idx="1522">
                  <c:v>41500</c:v>
                </c:pt>
                <c:pt idx="1523">
                  <c:v>41501</c:v>
                </c:pt>
                <c:pt idx="1524">
                  <c:v>41502</c:v>
                </c:pt>
                <c:pt idx="1525">
                  <c:v>41505</c:v>
                </c:pt>
                <c:pt idx="1526">
                  <c:v>41506</c:v>
                </c:pt>
                <c:pt idx="1527">
                  <c:v>41507</c:v>
                </c:pt>
                <c:pt idx="1528">
                  <c:v>41508</c:v>
                </c:pt>
                <c:pt idx="1529">
                  <c:v>41509</c:v>
                </c:pt>
                <c:pt idx="1530">
                  <c:v>41512</c:v>
                </c:pt>
                <c:pt idx="1531">
                  <c:v>41513</c:v>
                </c:pt>
                <c:pt idx="1532">
                  <c:v>41514</c:v>
                </c:pt>
                <c:pt idx="1533">
                  <c:v>41515</c:v>
                </c:pt>
                <c:pt idx="1534">
                  <c:v>41516</c:v>
                </c:pt>
                <c:pt idx="1535">
                  <c:v>41519</c:v>
                </c:pt>
                <c:pt idx="1536">
                  <c:v>41520</c:v>
                </c:pt>
                <c:pt idx="1537">
                  <c:v>41521</c:v>
                </c:pt>
                <c:pt idx="1538">
                  <c:v>41522</c:v>
                </c:pt>
                <c:pt idx="1539">
                  <c:v>41523</c:v>
                </c:pt>
                <c:pt idx="1540">
                  <c:v>41526</c:v>
                </c:pt>
                <c:pt idx="1541">
                  <c:v>41527</c:v>
                </c:pt>
                <c:pt idx="1542">
                  <c:v>41528</c:v>
                </c:pt>
                <c:pt idx="1543">
                  <c:v>41529</c:v>
                </c:pt>
                <c:pt idx="1544">
                  <c:v>41530</c:v>
                </c:pt>
                <c:pt idx="1545">
                  <c:v>41533</c:v>
                </c:pt>
                <c:pt idx="1546">
                  <c:v>41534</c:v>
                </c:pt>
                <c:pt idx="1547">
                  <c:v>41535</c:v>
                </c:pt>
                <c:pt idx="1548">
                  <c:v>41536</c:v>
                </c:pt>
                <c:pt idx="1549">
                  <c:v>41537</c:v>
                </c:pt>
                <c:pt idx="1550">
                  <c:v>41540</c:v>
                </c:pt>
                <c:pt idx="1551">
                  <c:v>41541</c:v>
                </c:pt>
                <c:pt idx="1552">
                  <c:v>41542</c:v>
                </c:pt>
                <c:pt idx="1553">
                  <c:v>41543</c:v>
                </c:pt>
                <c:pt idx="1554">
                  <c:v>41544</c:v>
                </c:pt>
                <c:pt idx="1555">
                  <c:v>41547</c:v>
                </c:pt>
                <c:pt idx="1556">
                  <c:v>41548</c:v>
                </c:pt>
                <c:pt idx="1557">
                  <c:v>41549</c:v>
                </c:pt>
                <c:pt idx="1558">
                  <c:v>41550</c:v>
                </c:pt>
                <c:pt idx="1559">
                  <c:v>41551</c:v>
                </c:pt>
                <c:pt idx="1560">
                  <c:v>41554</c:v>
                </c:pt>
                <c:pt idx="1561">
                  <c:v>41555</c:v>
                </c:pt>
                <c:pt idx="1562">
                  <c:v>41556</c:v>
                </c:pt>
                <c:pt idx="1563">
                  <c:v>41557</c:v>
                </c:pt>
                <c:pt idx="1564">
                  <c:v>41558</c:v>
                </c:pt>
                <c:pt idx="1565">
                  <c:v>41561</c:v>
                </c:pt>
                <c:pt idx="1566">
                  <c:v>41562</c:v>
                </c:pt>
                <c:pt idx="1567">
                  <c:v>41563</c:v>
                </c:pt>
                <c:pt idx="1568">
                  <c:v>41564</c:v>
                </c:pt>
                <c:pt idx="1569">
                  <c:v>41565</c:v>
                </c:pt>
                <c:pt idx="1570">
                  <c:v>41568</c:v>
                </c:pt>
                <c:pt idx="1571">
                  <c:v>41569</c:v>
                </c:pt>
                <c:pt idx="1572">
                  <c:v>41570</c:v>
                </c:pt>
                <c:pt idx="1573">
                  <c:v>41571</c:v>
                </c:pt>
                <c:pt idx="1574">
                  <c:v>41572</c:v>
                </c:pt>
                <c:pt idx="1575">
                  <c:v>41575</c:v>
                </c:pt>
                <c:pt idx="1576">
                  <c:v>41576</c:v>
                </c:pt>
                <c:pt idx="1577">
                  <c:v>41577</c:v>
                </c:pt>
                <c:pt idx="1578">
                  <c:v>41578</c:v>
                </c:pt>
                <c:pt idx="1579">
                  <c:v>41579</c:v>
                </c:pt>
                <c:pt idx="1580">
                  <c:v>41582</c:v>
                </c:pt>
                <c:pt idx="1581">
                  <c:v>41583</c:v>
                </c:pt>
                <c:pt idx="1582">
                  <c:v>41584</c:v>
                </c:pt>
                <c:pt idx="1583">
                  <c:v>41585</c:v>
                </c:pt>
                <c:pt idx="1584">
                  <c:v>41586</c:v>
                </c:pt>
                <c:pt idx="1585">
                  <c:v>41589</c:v>
                </c:pt>
                <c:pt idx="1586">
                  <c:v>41590</c:v>
                </c:pt>
                <c:pt idx="1587">
                  <c:v>41591</c:v>
                </c:pt>
                <c:pt idx="1588">
                  <c:v>41592</c:v>
                </c:pt>
                <c:pt idx="1589">
                  <c:v>41593</c:v>
                </c:pt>
                <c:pt idx="1590">
                  <c:v>41596</c:v>
                </c:pt>
                <c:pt idx="1591">
                  <c:v>41597</c:v>
                </c:pt>
                <c:pt idx="1592">
                  <c:v>41598</c:v>
                </c:pt>
                <c:pt idx="1593">
                  <c:v>41599</c:v>
                </c:pt>
                <c:pt idx="1594">
                  <c:v>41600</c:v>
                </c:pt>
                <c:pt idx="1595">
                  <c:v>41603</c:v>
                </c:pt>
                <c:pt idx="1596">
                  <c:v>41604</c:v>
                </c:pt>
                <c:pt idx="1597">
                  <c:v>41605</c:v>
                </c:pt>
                <c:pt idx="1598">
                  <c:v>41606</c:v>
                </c:pt>
                <c:pt idx="1599">
                  <c:v>41607</c:v>
                </c:pt>
                <c:pt idx="1600">
                  <c:v>41610</c:v>
                </c:pt>
                <c:pt idx="1601">
                  <c:v>41611</c:v>
                </c:pt>
                <c:pt idx="1602">
                  <c:v>41612</c:v>
                </c:pt>
                <c:pt idx="1603">
                  <c:v>41613</c:v>
                </c:pt>
                <c:pt idx="1604">
                  <c:v>41614</c:v>
                </c:pt>
                <c:pt idx="1605">
                  <c:v>41617</c:v>
                </c:pt>
                <c:pt idx="1606">
                  <c:v>41618</c:v>
                </c:pt>
                <c:pt idx="1607">
                  <c:v>41619</c:v>
                </c:pt>
                <c:pt idx="1608">
                  <c:v>41620</c:v>
                </c:pt>
                <c:pt idx="1609">
                  <c:v>41621</c:v>
                </c:pt>
                <c:pt idx="1610">
                  <c:v>41624</c:v>
                </c:pt>
                <c:pt idx="1611">
                  <c:v>41625</c:v>
                </c:pt>
                <c:pt idx="1612">
                  <c:v>41626</c:v>
                </c:pt>
                <c:pt idx="1613">
                  <c:v>41627</c:v>
                </c:pt>
                <c:pt idx="1614">
                  <c:v>41628</c:v>
                </c:pt>
                <c:pt idx="1615">
                  <c:v>41631</c:v>
                </c:pt>
                <c:pt idx="1616">
                  <c:v>41632</c:v>
                </c:pt>
                <c:pt idx="1617">
                  <c:v>41635</c:v>
                </c:pt>
                <c:pt idx="1618">
                  <c:v>41638</c:v>
                </c:pt>
                <c:pt idx="1619">
                  <c:v>41639</c:v>
                </c:pt>
                <c:pt idx="1620">
                  <c:v>41641</c:v>
                </c:pt>
                <c:pt idx="1621">
                  <c:v>41642</c:v>
                </c:pt>
                <c:pt idx="1622">
                  <c:v>41645</c:v>
                </c:pt>
                <c:pt idx="1623">
                  <c:v>41646</c:v>
                </c:pt>
                <c:pt idx="1624">
                  <c:v>41647</c:v>
                </c:pt>
                <c:pt idx="1625">
                  <c:v>41648</c:v>
                </c:pt>
                <c:pt idx="1626">
                  <c:v>41649</c:v>
                </c:pt>
                <c:pt idx="1627">
                  <c:v>41652</c:v>
                </c:pt>
                <c:pt idx="1628">
                  <c:v>41653</c:v>
                </c:pt>
                <c:pt idx="1629">
                  <c:v>41654</c:v>
                </c:pt>
                <c:pt idx="1630">
                  <c:v>41655</c:v>
                </c:pt>
                <c:pt idx="1631">
                  <c:v>41656</c:v>
                </c:pt>
                <c:pt idx="1632">
                  <c:v>41659</c:v>
                </c:pt>
                <c:pt idx="1633">
                  <c:v>41660</c:v>
                </c:pt>
                <c:pt idx="1634">
                  <c:v>41661</c:v>
                </c:pt>
                <c:pt idx="1635">
                  <c:v>41662</c:v>
                </c:pt>
                <c:pt idx="1636">
                  <c:v>41663</c:v>
                </c:pt>
                <c:pt idx="1637">
                  <c:v>41666</c:v>
                </c:pt>
                <c:pt idx="1638">
                  <c:v>41667</c:v>
                </c:pt>
                <c:pt idx="1639">
                  <c:v>41668</c:v>
                </c:pt>
                <c:pt idx="1640">
                  <c:v>41669</c:v>
                </c:pt>
                <c:pt idx="1641">
                  <c:v>41670</c:v>
                </c:pt>
                <c:pt idx="1642">
                  <c:v>41673</c:v>
                </c:pt>
                <c:pt idx="1643">
                  <c:v>41674</c:v>
                </c:pt>
                <c:pt idx="1644">
                  <c:v>41675</c:v>
                </c:pt>
                <c:pt idx="1645">
                  <c:v>41676</c:v>
                </c:pt>
                <c:pt idx="1646">
                  <c:v>41677</c:v>
                </c:pt>
                <c:pt idx="1647">
                  <c:v>41680</c:v>
                </c:pt>
                <c:pt idx="1648">
                  <c:v>41681</c:v>
                </c:pt>
                <c:pt idx="1649">
                  <c:v>41682</c:v>
                </c:pt>
                <c:pt idx="1650">
                  <c:v>41683</c:v>
                </c:pt>
                <c:pt idx="1651">
                  <c:v>41684</c:v>
                </c:pt>
                <c:pt idx="1652">
                  <c:v>41687</c:v>
                </c:pt>
                <c:pt idx="1653">
                  <c:v>41688</c:v>
                </c:pt>
                <c:pt idx="1654">
                  <c:v>41689</c:v>
                </c:pt>
                <c:pt idx="1655">
                  <c:v>41690</c:v>
                </c:pt>
                <c:pt idx="1656">
                  <c:v>41691</c:v>
                </c:pt>
                <c:pt idx="1657">
                  <c:v>41694</c:v>
                </c:pt>
                <c:pt idx="1658">
                  <c:v>41695</c:v>
                </c:pt>
                <c:pt idx="1659">
                  <c:v>41696</c:v>
                </c:pt>
                <c:pt idx="1660">
                  <c:v>41697</c:v>
                </c:pt>
                <c:pt idx="1661">
                  <c:v>41698</c:v>
                </c:pt>
                <c:pt idx="1662">
                  <c:v>41701</c:v>
                </c:pt>
                <c:pt idx="1663">
                  <c:v>41702</c:v>
                </c:pt>
                <c:pt idx="1664">
                  <c:v>41703</c:v>
                </c:pt>
                <c:pt idx="1665">
                  <c:v>41704</c:v>
                </c:pt>
                <c:pt idx="1666">
                  <c:v>41705</c:v>
                </c:pt>
                <c:pt idx="1667">
                  <c:v>41708</c:v>
                </c:pt>
                <c:pt idx="1668">
                  <c:v>41709</c:v>
                </c:pt>
                <c:pt idx="1669">
                  <c:v>41710</c:v>
                </c:pt>
                <c:pt idx="1670">
                  <c:v>41711</c:v>
                </c:pt>
                <c:pt idx="1671">
                  <c:v>41712</c:v>
                </c:pt>
                <c:pt idx="1672">
                  <c:v>41715</c:v>
                </c:pt>
                <c:pt idx="1673">
                  <c:v>41716</c:v>
                </c:pt>
                <c:pt idx="1674">
                  <c:v>41717</c:v>
                </c:pt>
                <c:pt idx="1675">
                  <c:v>41718</c:v>
                </c:pt>
                <c:pt idx="1676">
                  <c:v>41719</c:v>
                </c:pt>
                <c:pt idx="1677">
                  <c:v>41722</c:v>
                </c:pt>
                <c:pt idx="1678">
                  <c:v>41723</c:v>
                </c:pt>
                <c:pt idx="1679">
                  <c:v>41724</c:v>
                </c:pt>
                <c:pt idx="1680">
                  <c:v>41725</c:v>
                </c:pt>
                <c:pt idx="1681">
                  <c:v>41726</c:v>
                </c:pt>
                <c:pt idx="1682">
                  <c:v>41729</c:v>
                </c:pt>
                <c:pt idx="1683">
                  <c:v>41730</c:v>
                </c:pt>
                <c:pt idx="1684">
                  <c:v>41731</c:v>
                </c:pt>
                <c:pt idx="1685">
                  <c:v>41732</c:v>
                </c:pt>
                <c:pt idx="1686">
                  <c:v>41733</c:v>
                </c:pt>
                <c:pt idx="1687">
                  <c:v>41736</c:v>
                </c:pt>
                <c:pt idx="1688">
                  <c:v>41737</c:v>
                </c:pt>
                <c:pt idx="1689">
                  <c:v>41738</c:v>
                </c:pt>
                <c:pt idx="1690">
                  <c:v>41739</c:v>
                </c:pt>
                <c:pt idx="1691">
                  <c:v>41740</c:v>
                </c:pt>
                <c:pt idx="1692">
                  <c:v>41743</c:v>
                </c:pt>
                <c:pt idx="1693">
                  <c:v>41744</c:v>
                </c:pt>
                <c:pt idx="1694">
                  <c:v>41745</c:v>
                </c:pt>
                <c:pt idx="1695">
                  <c:v>41746</c:v>
                </c:pt>
                <c:pt idx="1696">
                  <c:v>41751</c:v>
                </c:pt>
                <c:pt idx="1697">
                  <c:v>41752</c:v>
                </c:pt>
                <c:pt idx="1698">
                  <c:v>41753</c:v>
                </c:pt>
                <c:pt idx="1699">
                  <c:v>41754</c:v>
                </c:pt>
                <c:pt idx="1700">
                  <c:v>41757</c:v>
                </c:pt>
                <c:pt idx="1701">
                  <c:v>41758</c:v>
                </c:pt>
                <c:pt idx="1702">
                  <c:v>41759</c:v>
                </c:pt>
                <c:pt idx="1703">
                  <c:v>41760</c:v>
                </c:pt>
                <c:pt idx="1704">
                  <c:v>41761</c:v>
                </c:pt>
                <c:pt idx="1705">
                  <c:v>41764</c:v>
                </c:pt>
                <c:pt idx="1706">
                  <c:v>41765</c:v>
                </c:pt>
                <c:pt idx="1707">
                  <c:v>41766</c:v>
                </c:pt>
                <c:pt idx="1708">
                  <c:v>41767</c:v>
                </c:pt>
                <c:pt idx="1709">
                  <c:v>41768</c:v>
                </c:pt>
                <c:pt idx="1710">
                  <c:v>41771</c:v>
                </c:pt>
                <c:pt idx="1711">
                  <c:v>41772</c:v>
                </c:pt>
                <c:pt idx="1712">
                  <c:v>41773</c:v>
                </c:pt>
                <c:pt idx="1713">
                  <c:v>41774</c:v>
                </c:pt>
                <c:pt idx="1714">
                  <c:v>41775</c:v>
                </c:pt>
                <c:pt idx="1715">
                  <c:v>41778</c:v>
                </c:pt>
                <c:pt idx="1716">
                  <c:v>41779</c:v>
                </c:pt>
                <c:pt idx="1717">
                  <c:v>41780</c:v>
                </c:pt>
                <c:pt idx="1718">
                  <c:v>41781</c:v>
                </c:pt>
                <c:pt idx="1719">
                  <c:v>41782</c:v>
                </c:pt>
                <c:pt idx="1720">
                  <c:v>41785</c:v>
                </c:pt>
                <c:pt idx="1721">
                  <c:v>41786</c:v>
                </c:pt>
                <c:pt idx="1722">
                  <c:v>41787</c:v>
                </c:pt>
                <c:pt idx="1723">
                  <c:v>41788</c:v>
                </c:pt>
                <c:pt idx="1724">
                  <c:v>41789</c:v>
                </c:pt>
                <c:pt idx="1725">
                  <c:v>41792</c:v>
                </c:pt>
                <c:pt idx="1726">
                  <c:v>41793</c:v>
                </c:pt>
                <c:pt idx="1727">
                  <c:v>41794</c:v>
                </c:pt>
                <c:pt idx="1728">
                  <c:v>41795</c:v>
                </c:pt>
                <c:pt idx="1729">
                  <c:v>41796</c:v>
                </c:pt>
                <c:pt idx="1730">
                  <c:v>41799</c:v>
                </c:pt>
                <c:pt idx="1731">
                  <c:v>41800</c:v>
                </c:pt>
                <c:pt idx="1732">
                  <c:v>41801</c:v>
                </c:pt>
                <c:pt idx="1733">
                  <c:v>41802</c:v>
                </c:pt>
                <c:pt idx="1734">
                  <c:v>41803</c:v>
                </c:pt>
                <c:pt idx="1735">
                  <c:v>41806</c:v>
                </c:pt>
                <c:pt idx="1736">
                  <c:v>41807</c:v>
                </c:pt>
                <c:pt idx="1737">
                  <c:v>41808</c:v>
                </c:pt>
                <c:pt idx="1738">
                  <c:v>41809</c:v>
                </c:pt>
                <c:pt idx="1739">
                  <c:v>41810</c:v>
                </c:pt>
                <c:pt idx="1740">
                  <c:v>41813</c:v>
                </c:pt>
                <c:pt idx="1741">
                  <c:v>41814</c:v>
                </c:pt>
                <c:pt idx="1742">
                  <c:v>41815</c:v>
                </c:pt>
                <c:pt idx="1743">
                  <c:v>41816</c:v>
                </c:pt>
                <c:pt idx="1744">
                  <c:v>41817</c:v>
                </c:pt>
                <c:pt idx="1745">
                  <c:v>41820</c:v>
                </c:pt>
                <c:pt idx="1746">
                  <c:v>41821</c:v>
                </c:pt>
                <c:pt idx="1747">
                  <c:v>41822</c:v>
                </c:pt>
                <c:pt idx="1748">
                  <c:v>41823</c:v>
                </c:pt>
                <c:pt idx="1749">
                  <c:v>41824</c:v>
                </c:pt>
                <c:pt idx="1750">
                  <c:v>41827</c:v>
                </c:pt>
                <c:pt idx="1751">
                  <c:v>41828</c:v>
                </c:pt>
                <c:pt idx="1752">
                  <c:v>41829</c:v>
                </c:pt>
                <c:pt idx="1753">
                  <c:v>41830</c:v>
                </c:pt>
                <c:pt idx="1754">
                  <c:v>41831</c:v>
                </c:pt>
                <c:pt idx="1755">
                  <c:v>41834</c:v>
                </c:pt>
                <c:pt idx="1756">
                  <c:v>41835</c:v>
                </c:pt>
                <c:pt idx="1757">
                  <c:v>41836</c:v>
                </c:pt>
                <c:pt idx="1758">
                  <c:v>41837</c:v>
                </c:pt>
                <c:pt idx="1759">
                  <c:v>41838</c:v>
                </c:pt>
                <c:pt idx="1760">
                  <c:v>41841</c:v>
                </c:pt>
                <c:pt idx="1761">
                  <c:v>41842</c:v>
                </c:pt>
                <c:pt idx="1762">
                  <c:v>41843</c:v>
                </c:pt>
                <c:pt idx="1763">
                  <c:v>41844</c:v>
                </c:pt>
                <c:pt idx="1764">
                  <c:v>41845</c:v>
                </c:pt>
                <c:pt idx="1765">
                  <c:v>41848</c:v>
                </c:pt>
                <c:pt idx="1766">
                  <c:v>41849</c:v>
                </c:pt>
                <c:pt idx="1767">
                  <c:v>41850</c:v>
                </c:pt>
                <c:pt idx="1768">
                  <c:v>41851</c:v>
                </c:pt>
                <c:pt idx="1769">
                  <c:v>41852</c:v>
                </c:pt>
                <c:pt idx="1770">
                  <c:v>41855</c:v>
                </c:pt>
                <c:pt idx="1771">
                  <c:v>41856</c:v>
                </c:pt>
                <c:pt idx="1772">
                  <c:v>41857</c:v>
                </c:pt>
                <c:pt idx="1773">
                  <c:v>41858</c:v>
                </c:pt>
                <c:pt idx="1774">
                  <c:v>41859</c:v>
                </c:pt>
                <c:pt idx="1775">
                  <c:v>41862</c:v>
                </c:pt>
                <c:pt idx="1776">
                  <c:v>41863</c:v>
                </c:pt>
                <c:pt idx="1777">
                  <c:v>41864</c:v>
                </c:pt>
                <c:pt idx="1778">
                  <c:v>41865</c:v>
                </c:pt>
                <c:pt idx="1779">
                  <c:v>41866</c:v>
                </c:pt>
                <c:pt idx="1780">
                  <c:v>41869</c:v>
                </c:pt>
                <c:pt idx="1781">
                  <c:v>41870</c:v>
                </c:pt>
                <c:pt idx="1782">
                  <c:v>41871</c:v>
                </c:pt>
                <c:pt idx="1783">
                  <c:v>41872</c:v>
                </c:pt>
                <c:pt idx="1784">
                  <c:v>41873</c:v>
                </c:pt>
                <c:pt idx="1785">
                  <c:v>41876</c:v>
                </c:pt>
                <c:pt idx="1786">
                  <c:v>41877</c:v>
                </c:pt>
                <c:pt idx="1787">
                  <c:v>41878</c:v>
                </c:pt>
                <c:pt idx="1788">
                  <c:v>41879</c:v>
                </c:pt>
                <c:pt idx="1789">
                  <c:v>41880</c:v>
                </c:pt>
                <c:pt idx="1790">
                  <c:v>41883</c:v>
                </c:pt>
                <c:pt idx="1791">
                  <c:v>41884</c:v>
                </c:pt>
                <c:pt idx="1792">
                  <c:v>41885</c:v>
                </c:pt>
                <c:pt idx="1793">
                  <c:v>41886</c:v>
                </c:pt>
                <c:pt idx="1794">
                  <c:v>41887</c:v>
                </c:pt>
                <c:pt idx="1795">
                  <c:v>41890</c:v>
                </c:pt>
                <c:pt idx="1796">
                  <c:v>41891</c:v>
                </c:pt>
                <c:pt idx="1797">
                  <c:v>41892</c:v>
                </c:pt>
                <c:pt idx="1798">
                  <c:v>41893</c:v>
                </c:pt>
                <c:pt idx="1799">
                  <c:v>41894</c:v>
                </c:pt>
                <c:pt idx="1800">
                  <c:v>41897</c:v>
                </c:pt>
                <c:pt idx="1801">
                  <c:v>41898</c:v>
                </c:pt>
                <c:pt idx="1802">
                  <c:v>41899</c:v>
                </c:pt>
                <c:pt idx="1803">
                  <c:v>41900</c:v>
                </c:pt>
                <c:pt idx="1804">
                  <c:v>41901</c:v>
                </c:pt>
                <c:pt idx="1805">
                  <c:v>41904</c:v>
                </c:pt>
                <c:pt idx="1806">
                  <c:v>41905</c:v>
                </c:pt>
                <c:pt idx="1807">
                  <c:v>41906</c:v>
                </c:pt>
                <c:pt idx="1808">
                  <c:v>41907</c:v>
                </c:pt>
                <c:pt idx="1809">
                  <c:v>41908</c:v>
                </c:pt>
                <c:pt idx="1810">
                  <c:v>41911</c:v>
                </c:pt>
                <c:pt idx="1811">
                  <c:v>41912</c:v>
                </c:pt>
              </c:numCache>
            </c:numRef>
          </c:cat>
          <c:val>
            <c:numRef>
              <c:f>Sheet1!$B$2:$B$1813</c:f>
              <c:numCache>
                <c:formatCode>General</c:formatCode>
                <c:ptCount val="1812"/>
                <c:pt idx="0">
                  <c:v>100</c:v>
                </c:pt>
                <c:pt idx="1">
                  <c:v>100.80089128058525</c:v>
                </c:pt>
                <c:pt idx="2">
                  <c:v>100.79108158860957</c:v>
                </c:pt>
                <c:pt idx="3">
                  <c:v>100.61590851761541</c:v>
                </c:pt>
                <c:pt idx="4">
                  <c:v>101.84048506591179</c:v>
                </c:pt>
                <c:pt idx="5">
                  <c:v>101.76083970963312</c:v>
                </c:pt>
                <c:pt idx="6">
                  <c:v>102.37487971449126</c:v>
                </c:pt>
                <c:pt idx="7">
                  <c:v>101.93577921653261</c:v>
                </c:pt>
                <c:pt idx="8">
                  <c:v>102.21582256602859</c:v>
                </c:pt>
                <c:pt idx="9">
                  <c:v>102.27771705111317</c:v>
                </c:pt>
                <c:pt idx="10">
                  <c:v>101.15217167895216</c:v>
                </c:pt>
                <c:pt idx="11">
                  <c:v>99.828330390425762</c:v>
                </c:pt>
                <c:pt idx="12">
                  <c:v>99.831600287750987</c:v>
                </c:pt>
                <c:pt idx="13">
                  <c:v>99.08069172342276</c:v>
                </c:pt>
                <c:pt idx="14">
                  <c:v>98.242196623597465</c:v>
                </c:pt>
                <c:pt idx="15">
                  <c:v>97.6526808486785</c:v>
                </c:pt>
                <c:pt idx="16">
                  <c:v>98.324644749012037</c:v>
                </c:pt>
                <c:pt idx="17">
                  <c:v>97.953978530788433</c:v>
                </c:pt>
                <c:pt idx="18">
                  <c:v>98.591141381017792</c:v>
                </c:pt>
                <c:pt idx="19">
                  <c:v>99.626531012640498</c:v>
                </c:pt>
                <c:pt idx="20">
                  <c:v>100.75417846165347</c:v>
                </c:pt>
                <c:pt idx="21">
                  <c:v>100.2639274269645</c:v>
                </c:pt>
                <c:pt idx="22">
                  <c:v>100.86932556032026</c:v>
                </c:pt>
                <c:pt idx="23">
                  <c:v>99.471678017881672</c:v>
                </c:pt>
                <c:pt idx="24">
                  <c:v>98.020544297766193</c:v>
                </c:pt>
                <c:pt idx="25">
                  <c:v>97.092594149686562</c:v>
                </c:pt>
                <c:pt idx="26">
                  <c:v>97.731859076767861</c:v>
                </c:pt>
                <c:pt idx="27">
                  <c:v>96.091071311789392</c:v>
                </c:pt>
                <c:pt idx="28">
                  <c:v>95.155179984491355</c:v>
                </c:pt>
                <c:pt idx="29">
                  <c:v>94.21835440081469</c:v>
                </c:pt>
                <c:pt idx="30">
                  <c:v>93.652662163550929</c:v>
                </c:pt>
                <c:pt idx="31">
                  <c:v>94.745274998365062</c:v>
                </c:pt>
                <c:pt idx="32">
                  <c:v>94.595560413688744</c:v>
                </c:pt>
                <c:pt idx="33">
                  <c:v>93.317497687715473</c:v>
                </c:pt>
                <c:pt idx="34">
                  <c:v>92.477834767416894</c:v>
                </c:pt>
                <c:pt idx="35">
                  <c:v>91.303708063566816</c:v>
                </c:pt>
                <c:pt idx="36">
                  <c:v>91.194400067266471</c:v>
                </c:pt>
                <c:pt idx="37">
                  <c:v>89.043508319553069</c:v>
                </c:pt>
                <c:pt idx="38">
                  <c:v>89.072236703196111</c:v>
                </c:pt>
                <c:pt idx="39">
                  <c:v>90.449797733494037</c:v>
                </c:pt>
                <c:pt idx="40">
                  <c:v>90.217635023403133</c:v>
                </c:pt>
                <c:pt idx="41">
                  <c:v>90.171856460849995</c:v>
                </c:pt>
                <c:pt idx="42">
                  <c:v>92.610499173183115</c:v>
                </c:pt>
                <c:pt idx="43">
                  <c:v>93.164513205713931</c:v>
                </c:pt>
                <c:pt idx="44">
                  <c:v>94.75928884404459</c:v>
                </c:pt>
                <c:pt idx="45">
                  <c:v>94.552351056176846</c:v>
                </c:pt>
                <c:pt idx="46">
                  <c:v>93.397143043994149</c:v>
                </c:pt>
                <c:pt idx="47">
                  <c:v>94.916010351560686</c:v>
                </c:pt>
                <c:pt idx="48">
                  <c:v>95.700318581425137</c:v>
                </c:pt>
                <c:pt idx="49">
                  <c:v>95.80285321898036</c:v>
                </c:pt>
                <c:pt idx="50">
                  <c:v>96.139652643478428</c:v>
                </c:pt>
                <c:pt idx="51">
                  <c:v>95.325681773592322</c:v>
                </c:pt>
                <c:pt idx="52">
                  <c:v>95.111503498790142</c:v>
                </c:pt>
                <c:pt idx="53">
                  <c:v>93.922662256976579</c:v>
                </c:pt>
                <c:pt idx="54">
                  <c:v>93.754963237011509</c:v>
                </c:pt>
                <c:pt idx="55">
                  <c:v>92.171865803413795</c:v>
                </c:pt>
                <c:pt idx="56">
                  <c:v>92.244504236852691</c:v>
                </c:pt>
                <c:pt idx="57">
                  <c:v>92.070966114521156</c:v>
                </c:pt>
                <c:pt idx="58">
                  <c:v>92.123985164008715</c:v>
                </c:pt>
                <c:pt idx="59">
                  <c:v>93.40508422321254</c:v>
                </c:pt>
                <c:pt idx="60">
                  <c:v>93.732541083924261</c:v>
                </c:pt>
                <c:pt idx="61">
                  <c:v>93.852359464484252</c:v>
                </c:pt>
                <c:pt idx="62">
                  <c:v>93.471416426095658</c:v>
                </c:pt>
                <c:pt idx="63">
                  <c:v>92.97345777628297</c:v>
                </c:pt>
                <c:pt idx="64">
                  <c:v>92.321580388090112</c:v>
                </c:pt>
                <c:pt idx="65">
                  <c:v>92.908293393873151</c:v>
                </c:pt>
                <c:pt idx="66">
                  <c:v>92.908293393873151</c:v>
                </c:pt>
                <c:pt idx="67">
                  <c:v>91.995758476041019</c:v>
                </c:pt>
                <c:pt idx="68">
                  <c:v>91.002643945551554</c:v>
                </c:pt>
                <c:pt idx="69">
                  <c:v>90.004391004979595</c:v>
                </c:pt>
                <c:pt idx="70">
                  <c:v>89.93899305847512</c:v>
                </c:pt>
                <c:pt idx="71">
                  <c:v>89.81146706279138</c:v>
                </c:pt>
                <c:pt idx="72">
                  <c:v>89.803292319478317</c:v>
                </c:pt>
                <c:pt idx="73">
                  <c:v>89.370731616170119</c:v>
                </c:pt>
                <c:pt idx="74">
                  <c:v>88.578015078897948</c:v>
                </c:pt>
                <c:pt idx="75">
                  <c:v>88.304044395863116</c:v>
                </c:pt>
                <c:pt idx="76">
                  <c:v>86.793818959798955</c:v>
                </c:pt>
                <c:pt idx="77">
                  <c:v>86.178844698562187</c:v>
                </c:pt>
                <c:pt idx="78">
                  <c:v>85.808645608527897</c:v>
                </c:pt>
                <c:pt idx="79">
                  <c:v>85.553593617160431</c:v>
                </c:pt>
                <c:pt idx="80">
                  <c:v>83.018956061922523</c:v>
                </c:pt>
                <c:pt idx="81">
                  <c:v>81.936386483178723</c:v>
                </c:pt>
                <c:pt idx="82">
                  <c:v>83.949008286854081</c:v>
                </c:pt>
                <c:pt idx="83">
                  <c:v>85.150228425684588</c:v>
                </c:pt>
                <c:pt idx="84">
                  <c:v>86.26970113138448</c:v>
                </c:pt>
                <c:pt idx="85">
                  <c:v>85.393602212319124</c:v>
                </c:pt>
                <c:pt idx="86">
                  <c:v>86.294926053607639</c:v>
                </c:pt>
                <c:pt idx="87">
                  <c:v>85.608014051215946</c:v>
                </c:pt>
                <c:pt idx="88">
                  <c:v>86.262227080355402</c:v>
                </c:pt>
                <c:pt idx="89">
                  <c:v>87.695376365182142</c:v>
                </c:pt>
                <c:pt idx="90">
                  <c:v>87.935947382680766</c:v>
                </c:pt>
                <c:pt idx="91">
                  <c:v>86.517045507628211</c:v>
                </c:pt>
                <c:pt idx="92">
                  <c:v>85.558264899053597</c:v>
                </c:pt>
                <c:pt idx="93">
                  <c:v>85.918187168922913</c:v>
                </c:pt>
                <c:pt idx="94">
                  <c:v>85.963265039192066</c:v>
                </c:pt>
                <c:pt idx="95">
                  <c:v>85.106084811794062</c:v>
                </c:pt>
                <c:pt idx="96">
                  <c:v>86.032867139400409</c:v>
                </c:pt>
                <c:pt idx="97">
                  <c:v>85.622261460990131</c:v>
                </c:pt>
                <c:pt idx="98">
                  <c:v>86.225791081588611</c:v>
                </c:pt>
                <c:pt idx="99">
                  <c:v>85.633005409344449</c:v>
                </c:pt>
                <c:pt idx="100">
                  <c:v>86.10550557283932</c:v>
                </c:pt>
                <c:pt idx="101">
                  <c:v>85.952521090837749</c:v>
                </c:pt>
                <c:pt idx="102">
                  <c:v>85.279856498220241</c:v>
                </c:pt>
                <c:pt idx="103">
                  <c:v>84.849864999953297</c:v>
                </c:pt>
                <c:pt idx="104">
                  <c:v>84.812961872997192</c:v>
                </c:pt>
                <c:pt idx="105">
                  <c:v>86.011846370881102</c:v>
                </c:pt>
                <c:pt idx="106">
                  <c:v>86.651111297962387</c:v>
                </c:pt>
                <c:pt idx="107">
                  <c:v>85.933835963265054</c:v>
                </c:pt>
                <c:pt idx="108">
                  <c:v>84.652970468155885</c:v>
                </c:pt>
                <c:pt idx="109">
                  <c:v>83.043246727767041</c:v>
                </c:pt>
                <c:pt idx="110">
                  <c:v>81.408998757439036</c:v>
                </c:pt>
                <c:pt idx="111">
                  <c:v>80.542242402160014</c:v>
                </c:pt>
                <c:pt idx="112">
                  <c:v>80.623989835290615</c:v>
                </c:pt>
                <c:pt idx="113">
                  <c:v>79.427440978353289</c:v>
                </c:pt>
                <c:pt idx="114">
                  <c:v>78.451610190868578</c:v>
                </c:pt>
                <c:pt idx="115">
                  <c:v>77.785485392901521</c:v>
                </c:pt>
                <c:pt idx="116">
                  <c:v>79.950390986294465</c:v>
                </c:pt>
                <c:pt idx="117">
                  <c:v>79.75302932630774</c:v>
                </c:pt>
                <c:pt idx="118">
                  <c:v>78.588011622149352</c:v>
                </c:pt>
                <c:pt idx="119">
                  <c:v>77.588357297009452</c:v>
                </c:pt>
                <c:pt idx="120">
                  <c:v>75.022422153087263</c:v>
                </c:pt>
                <c:pt idx="121">
                  <c:v>77.040415930939773</c:v>
                </c:pt>
                <c:pt idx="122">
                  <c:v>76.925969524556933</c:v>
                </c:pt>
                <c:pt idx="123">
                  <c:v>77.607042424582161</c:v>
                </c:pt>
                <c:pt idx="124">
                  <c:v>77.728262189710108</c:v>
                </c:pt>
                <c:pt idx="125">
                  <c:v>78.558115418033026</c:v>
                </c:pt>
                <c:pt idx="126">
                  <c:v>80.823920700318581</c:v>
                </c:pt>
                <c:pt idx="127">
                  <c:v>79.382129543989464</c:v>
                </c:pt>
                <c:pt idx="128">
                  <c:v>79.737847660154898</c:v>
                </c:pt>
                <c:pt idx="129">
                  <c:v>78.724646617524783</c:v>
                </c:pt>
                <c:pt idx="130">
                  <c:v>78.524715752496803</c:v>
                </c:pt>
                <c:pt idx="131">
                  <c:v>81.656343133682753</c:v>
                </c:pt>
                <c:pt idx="132">
                  <c:v>82.711585713351482</c:v>
                </c:pt>
                <c:pt idx="133">
                  <c:v>82.135616655922732</c:v>
                </c:pt>
                <c:pt idx="134">
                  <c:v>81.322346478320597</c:v>
                </c:pt>
                <c:pt idx="135">
                  <c:v>82.056905556022699</c:v>
                </c:pt>
                <c:pt idx="136">
                  <c:v>80.985547053822515</c:v>
                </c:pt>
                <c:pt idx="137">
                  <c:v>79.571783588852469</c:v>
                </c:pt>
                <c:pt idx="138">
                  <c:v>78.905658790885397</c:v>
                </c:pt>
                <c:pt idx="139">
                  <c:v>78.232527070078589</c:v>
                </c:pt>
                <c:pt idx="140">
                  <c:v>76.589637228248193</c:v>
                </c:pt>
                <c:pt idx="141">
                  <c:v>77.152293132281372</c:v>
                </c:pt>
                <c:pt idx="142">
                  <c:v>78.731653540364562</c:v>
                </c:pt>
                <c:pt idx="143">
                  <c:v>79.166316320524672</c:v>
                </c:pt>
                <c:pt idx="144">
                  <c:v>80.86526154507321</c:v>
                </c:pt>
                <c:pt idx="145">
                  <c:v>80.098704186402841</c:v>
                </c:pt>
                <c:pt idx="146">
                  <c:v>79.186636396760008</c:v>
                </c:pt>
                <c:pt idx="147">
                  <c:v>79.245260984519376</c:v>
                </c:pt>
                <c:pt idx="148">
                  <c:v>79.602614049347437</c:v>
                </c:pt>
                <c:pt idx="149">
                  <c:v>80.589655913375751</c:v>
                </c:pt>
                <c:pt idx="150">
                  <c:v>81.649336210842989</c:v>
                </c:pt>
                <c:pt idx="151">
                  <c:v>81.334491811242842</c:v>
                </c:pt>
                <c:pt idx="152">
                  <c:v>81.946196175154398</c:v>
                </c:pt>
                <c:pt idx="153">
                  <c:v>82.425703261489019</c:v>
                </c:pt>
                <c:pt idx="154">
                  <c:v>84.159683100236379</c:v>
                </c:pt>
                <c:pt idx="155">
                  <c:v>83.684613731700267</c:v>
                </c:pt>
                <c:pt idx="156">
                  <c:v>82.925063295869663</c:v>
                </c:pt>
                <c:pt idx="157">
                  <c:v>83.033203471696709</c:v>
                </c:pt>
                <c:pt idx="158">
                  <c:v>83.29549594999861</c:v>
                </c:pt>
                <c:pt idx="159">
                  <c:v>82.459570055214556</c:v>
                </c:pt>
                <c:pt idx="160">
                  <c:v>83.073376495978039</c:v>
                </c:pt>
                <c:pt idx="161">
                  <c:v>82.375954109326685</c:v>
                </c:pt>
                <c:pt idx="162">
                  <c:v>82.354466212618078</c:v>
                </c:pt>
                <c:pt idx="163">
                  <c:v>82.713220662014081</c:v>
                </c:pt>
                <c:pt idx="164">
                  <c:v>82.728168764072237</c:v>
                </c:pt>
                <c:pt idx="165">
                  <c:v>82.732139353681447</c:v>
                </c:pt>
                <c:pt idx="166">
                  <c:v>81.114240869979554</c:v>
                </c:pt>
                <c:pt idx="167">
                  <c:v>79.391472107775826</c:v>
                </c:pt>
                <c:pt idx="168">
                  <c:v>79.664274970337374</c:v>
                </c:pt>
                <c:pt idx="169">
                  <c:v>78.700823079869593</c:v>
                </c:pt>
                <c:pt idx="170">
                  <c:v>78.434326447863839</c:v>
                </c:pt>
                <c:pt idx="171">
                  <c:v>78.489681138297982</c:v>
                </c:pt>
                <c:pt idx="172">
                  <c:v>78.652241748180543</c:v>
                </c:pt>
                <c:pt idx="173">
                  <c:v>79.241056830815523</c:v>
                </c:pt>
                <c:pt idx="174">
                  <c:v>79.148331885235947</c:v>
                </c:pt>
                <c:pt idx="175">
                  <c:v>78.178807328307045</c:v>
                </c:pt>
                <c:pt idx="176">
                  <c:v>77.994525257621206</c:v>
                </c:pt>
                <c:pt idx="177">
                  <c:v>77.913011388585261</c:v>
                </c:pt>
                <c:pt idx="178">
                  <c:v>77.689490549996748</c:v>
                </c:pt>
                <c:pt idx="179">
                  <c:v>75.621280491792561</c:v>
                </c:pt>
                <c:pt idx="180">
                  <c:v>74.442248941954659</c:v>
                </c:pt>
                <c:pt idx="181">
                  <c:v>73.606556611265262</c:v>
                </c:pt>
                <c:pt idx="182">
                  <c:v>71.793632108523227</c:v>
                </c:pt>
                <c:pt idx="183">
                  <c:v>71.477853452544451</c:v>
                </c:pt>
                <c:pt idx="184">
                  <c:v>72.423554471818164</c:v>
                </c:pt>
                <c:pt idx="185">
                  <c:v>72.334332987658485</c:v>
                </c:pt>
                <c:pt idx="186">
                  <c:v>71.960163308014984</c:v>
                </c:pt>
                <c:pt idx="187">
                  <c:v>70.539392920205174</c:v>
                </c:pt>
                <c:pt idx="188">
                  <c:v>69.699496435811923</c:v>
                </c:pt>
                <c:pt idx="189">
                  <c:v>68.971944280949586</c:v>
                </c:pt>
                <c:pt idx="190">
                  <c:v>68.596840344927472</c:v>
                </c:pt>
                <c:pt idx="191">
                  <c:v>67.824210319795966</c:v>
                </c:pt>
                <c:pt idx="192">
                  <c:v>68.457402580416115</c:v>
                </c:pt>
                <c:pt idx="193">
                  <c:v>66.381484907088222</c:v>
                </c:pt>
                <c:pt idx="194">
                  <c:v>65.909685435877321</c:v>
                </c:pt>
                <c:pt idx="195">
                  <c:v>65.120705924119704</c:v>
                </c:pt>
                <c:pt idx="196">
                  <c:v>64.171034315236781</c:v>
                </c:pt>
                <c:pt idx="197">
                  <c:v>62.831310668273602</c:v>
                </c:pt>
                <c:pt idx="198">
                  <c:v>63.298672421685964</c:v>
                </c:pt>
                <c:pt idx="199">
                  <c:v>63.19170006633221</c:v>
                </c:pt>
                <c:pt idx="200">
                  <c:v>62.16915645991574</c:v>
                </c:pt>
                <c:pt idx="201">
                  <c:v>61.671898502387023</c:v>
                </c:pt>
                <c:pt idx="202">
                  <c:v>62.061950540467322</c:v>
                </c:pt>
                <c:pt idx="203">
                  <c:v>61.203135364406712</c:v>
                </c:pt>
                <c:pt idx="204">
                  <c:v>60.037650532059018</c:v>
                </c:pt>
                <c:pt idx="205">
                  <c:v>59.440193577921661</c:v>
                </c:pt>
                <c:pt idx="206">
                  <c:v>57.763203378271065</c:v>
                </c:pt>
                <c:pt idx="207">
                  <c:v>59.610461802927958</c:v>
                </c:pt>
                <c:pt idx="208">
                  <c:v>62.00379308089726</c:v>
                </c:pt>
                <c:pt idx="209">
                  <c:v>63.076319403570736</c:v>
                </c:pt>
                <c:pt idx="210">
                  <c:v>63.846613787755643</c:v>
                </c:pt>
                <c:pt idx="211">
                  <c:v>63.974139783439377</c:v>
                </c:pt>
                <c:pt idx="212">
                  <c:v>65.964572998122165</c:v>
                </c:pt>
                <c:pt idx="213">
                  <c:v>65.390238889356027</c:v>
                </c:pt>
                <c:pt idx="214">
                  <c:v>64.149546418528175</c:v>
                </c:pt>
                <c:pt idx="215">
                  <c:v>62.622270803553917</c:v>
                </c:pt>
                <c:pt idx="216">
                  <c:v>63.193101450900159</c:v>
                </c:pt>
                <c:pt idx="217">
                  <c:v>64.438465203621192</c:v>
                </c:pt>
                <c:pt idx="218">
                  <c:v>64.102600035501752</c:v>
                </c:pt>
                <c:pt idx="219">
                  <c:v>63.932565374590112</c:v>
                </c:pt>
                <c:pt idx="220">
                  <c:v>63.635471846184032</c:v>
                </c:pt>
                <c:pt idx="221">
                  <c:v>65.6111905229033</c:v>
                </c:pt>
                <c:pt idx="222">
                  <c:v>66.124797967058129</c:v>
                </c:pt>
                <c:pt idx="223">
                  <c:v>65.432747554583926</c:v>
                </c:pt>
                <c:pt idx="224">
                  <c:v>67.020049141885522</c:v>
                </c:pt>
                <c:pt idx="225">
                  <c:v>68.736745237628114</c:v>
                </c:pt>
                <c:pt idx="226">
                  <c:v>68.4029821463606</c:v>
                </c:pt>
                <c:pt idx="227">
                  <c:v>66.155628427553097</c:v>
                </c:pt>
                <c:pt idx="228">
                  <c:v>66.181320477965571</c:v>
                </c:pt>
                <c:pt idx="229">
                  <c:v>66.960490297747526</c:v>
                </c:pt>
                <c:pt idx="230">
                  <c:v>66.623223745060116</c:v>
                </c:pt>
                <c:pt idx="231">
                  <c:v>64.589814736960122</c:v>
                </c:pt>
                <c:pt idx="232">
                  <c:v>64.567392583872874</c:v>
                </c:pt>
                <c:pt idx="233">
                  <c:v>63.874875043209364</c:v>
                </c:pt>
                <c:pt idx="234">
                  <c:v>64.974261236768598</c:v>
                </c:pt>
                <c:pt idx="235">
                  <c:v>64.889477470407442</c:v>
                </c:pt>
                <c:pt idx="236">
                  <c:v>64.844866728327602</c:v>
                </c:pt>
                <c:pt idx="237">
                  <c:v>65.176761306837832</c:v>
                </c:pt>
                <c:pt idx="238">
                  <c:v>66.539607799172259</c:v>
                </c:pt>
                <c:pt idx="239">
                  <c:v>66.921251529844824</c:v>
                </c:pt>
                <c:pt idx="240">
                  <c:v>67.055083756084343</c:v>
                </c:pt>
                <c:pt idx="241">
                  <c:v>68.06011005540141</c:v>
                </c:pt>
                <c:pt idx="242">
                  <c:v>68.294374842344254</c:v>
                </c:pt>
                <c:pt idx="243">
                  <c:v>66.915178863383701</c:v>
                </c:pt>
                <c:pt idx="244">
                  <c:v>66.669936563991897</c:v>
                </c:pt>
                <c:pt idx="245">
                  <c:v>69.928389248577588</c:v>
                </c:pt>
                <c:pt idx="246">
                  <c:v>69.075179610788808</c:v>
                </c:pt>
                <c:pt idx="247">
                  <c:v>68.590767678466321</c:v>
                </c:pt>
                <c:pt idx="248">
                  <c:v>67.955006212804932</c:v>
                </c:pt>
                <c:pt idx="249">
                  <c:v>68.260975176808032</c:v>
                </c:pt>
                <c:pt idx="250">
                  <c:v>65.879789231760981</c:v>
                </c:pt>
                <c:pt idx="251">
                  <c:v>65.172790717228636</c:v>
                </c:pt>
                <c:pt idx="252">
                  <c:v>63.270177602137586</c:v>
                </c:pt>
                <c:pt idx="253">
                  <c:v>64.317479002587902</c:v>
                </c:pt>
                <c:pt idx="254">
                  <c:v>69.75531825443538</c:v>
                </c:pt>
                <c:pt idx="255">
                  <c:v>67.302661696422746</c:v>
                </c:pt>
                <c:pt idx="256">
                  <c:v>65.245195586572876</c:v>
                </c:pt>
                <c:pt idx="257">
                  <c:v>65.58783411343741</c:v>
                </c:pt>
                <c:pt idx="258">
                  <c:v>66.52092267159955</c:v>
                </c:pt>
                <c:pt idx="259">
                  <c:v>66.077384455842378</c:v>
                </c:pt>
                <c:pt idx="260">
                  <c:v>61.607434812261189</c:v>
                </c:pt>
                <c:pt idx="261">
                  <c:v>63.681250408737164</c:v>
                </c:pt>
                <c:pt idx="262">
                  <c:v>65.334884198921884</c:v>
                </c:pt>
                <c:pt idx="263">
                  <c:v>65.412894606537932</c:v>
                </c:pt>
                <c:pt idx="264">
                  <c:v>65.339088352625723</c:v>
                </c:pt>
                <c:pt idx="265">
                  <c:v>61.936526621635522</c:v>
                </c:pt>
                <c:pt idx="266">
                  <c:v>59.651101955398602</c:v>
                </c:pt>
                <c:pt idx="267">
                  <c:v>56.291749581920271</c:v>
                </c:pt>
                <c:pt idx="268">
                  <c:v>53.761316180386231</c:v>
                </c:pt>
                <c:pt idx="269">
                  <c:v>51.038425964853275</c:v>
                </c:pt>
                <c:pt idx="270">
                  <c:v>53.64336631258351</c:v>
                </c:pt>
                <c:pt idx="271">
                  <c:v>56.159085176154043</c:v>
                </c:pt>
                <c:pt idx="272">
                  <c:v>53.755009949830445</c:v>
                </c:pt>
                <c:pt idx="273">
                  <c:v>52.515018171286577</c:v>
                </c:pt>
                <c:pt idx="274">
                  <c:v>52.607042424582161</c:v>
                </c:pt>
                <c:pt idx="275">
                  <c:v>54.807216196268584</c:v>
                </c:pt>
                <c:pt idx="276">
                  <c:v>54.711454917458454</c:v>
                </c:pt>
                <c:pt idx="277">
                  <c:v>52.695563216457863</c:v>
                </c:pt>
                <c:pt idx="278">
                  <c:v>52.05723254575522</c:v>
                </c:pt>
                <c:pt idx="279">
                  <c:v>49.767370161719789</c:v>
                </c:pt>
                <c:pt idx="280">
                  <c:v>48.670553173201796</c:v>
                </c:pt>
                <c:pt idx="281">
                  <c:v>51.418434746863241</c:v>
                </c:pt>
                <c:pt idx="282">
                  <c:v>51.630277380718823</c:v>
                </c:pt>
                <c:pt idx="283">
                  <c:v>53.383643039322862</c:v>
                </c:pt>
                <c:pt idx="284">
                  <c:v>54.214430524024401</c:v>
                </c:pt>
                <c:pt idx="285">
                  <c:v>55.265235385894606</c:v>
                </c:pt>
                <c:pt idx="286">
                  <c:v>56.778030027000014</c:v>
                </c:pt>
                <c:pt idx="287">
                  <c:v>55.372674869437674</c:v>
                </c:pt>
                <c:pt idx="288">
                  <c:v>53.878798919999625</c:v>
                </c:pt>
                <c:pt idx="289">
                  <c:v>54.169586217849911</c:v>
                </c:pt>
                <c:pt idx="290">
                  <c:v>53.944430430598764</c:v>
                </c:pt>
                <c:pt idx="291">
                  <c:v>53.01064118015266</c:v>
                </c:pt>
                <c:pt idx="292">
                  <c:v>51.26007829068454</c:v>
                </c:pt>
                <c:pt idx="293">
                  <c:v>51.195381036464042</c:v>
                </c:pt>
                <c:pt idx="294">
                  <c:v>50.33773368087671</c:v>
                </c:pt>
                <c:pt idx="295">
                  <c:v>49.082793800274672</c:v>
                </c:pt>
                <c:pt idx="296">
                  <c:v>48.752067042237734</c:v>
                </c:pt>
                <c:pt idx="297">
                  <c:v>46.672879471584594</c:v>
                </c:pt>
                <c:pt idx="298">
                  <c:v>44.22115716995058</c:v>
                </c:pt>
                <c:pt idx="299">
                  <c:v>44.812775021721471</c:v>
                </c:pt>
                <c:pt idx="300">
                  <c:v>46.401945121780322</c:v>
                </c:pt>
                <c:pt idx="301">
                  <c:v>46.947317282808754</c:v>
                </c:pt>
                <c:pt idx="302">
                  <c:v>47.699160103515617</c:v>
                </c:pt>
                <c:pt idx="303">
                  <c:v>48.138961293758236</c:v>
                </c:pt>
                <c:pt idx="304">
                  <c:v>49.785588161103171</c:v>
                </c:pt>
                <c:pt idx="305">
                  <c:v>46.767940058110753</c:v>
                </c:pt>
                <c:pt idx="306">
                  <c:v>46.681287778992321</c:v>
                </c:pt>
                <c:pt idx="307">
                  <c:v>47.253519810906511</c:v>
                </c:pt>
                <c:pt idx="308">
                  <c:v>46.620327550286355</c:v>
                </c:pt>
                <c:pt idx="309">
                  <c:v>46.864168465110204</c:v>
                </c:pt>
                <c:pt idx="310">
                  <c:v>48.178667189850252</c:v>
                </c:pt>
                <c:pt idx="311">
                  <c:v>48.034324579351065</c:v>
                </c:pt>
                <c:pt idx="312">
                  <c:v>48.215570316806343</c:v>
                </c:pt>
                <c:pt idx="313">
                  <c:v>46.826331081775464</c:v>
                </c:pt>
                <c:pt idx="314">
                  <c:v>45.786503732354234</c:v>
                </c:pt>
                <c:pt idx="315">
                  <c:v>45.143034651569089</c:v>
                </c:pt>
                <c:pt idx="316">
                  <c:v>45.572792585741382</c:v>
                </c:pt>
                <c:pt idx="317">
                  <c:v>44.435802572942073</c:v>
                </c:pt>
                <c:pt idx="318">
                  <c:v>44.14267963414521</c:v>
                </c:pt>
                <c:pt idx="319">
                  <c:v>44.849911712772226</c:v>
                </c:pt>
                <c:pt idx="320">
                  <c:v>44.369470370058956</c:v>
                </c:pt>
                <c:pt idx="321">
                  <c:v>44.020992740827943</c:v>
                </c:pt>
                <c:pt idx="322">
                  <c:v>44.098068892065363</c:v>
                </c:pt>
                <c:pt idx="323">
                  <c:v>44.110447789082286</c:v>
                </c:pt>
                <c:pt idx="324">
                  <c:v>43.893233181049546</c:v>
                </c:pt>
                <c:pt idx="325">
                  <c:v>44.195465119538106</c:v>
                </c:pt>
                <c:pt idx="326">
                  <c:v>44.485318161009751</c:v>
                </c:pt>
                <c:pt idx="327">
                  <c:v>45.439427487691177</c:v>
                </c:pt>
                <c:pt idx="328">
                  <c:v>45.439427487691177</c:v>
                </c:pt>
                <c:pt idx="329">
                  <c:v>46.54722198865813</c:v>
                </c:pt>
                <c:pt idx="330">
                  <c:v>47.602231004232188</c:v>
                </c:pt>
                <c:pt idx="331">
                  <c:v>48.649999532871817</c:v>
                </c:pt>
                <c:pt idx="332">
                  <c:v>47.527724058036014</c:v>
                </c:pt>
                <c:pt idx="333">
                  <c:v>47.097031867485079</c:v>
                </c:pt>
                <c:pt idx="334">
                  <c:v>47.01505087025982</c:v>
                </c:pt>
                <c:pt idx="335">
                  <c:v>46.591599166643313</c:v>
                </c:pt>
                <c:pt idx="336">
                  <c:v>46.263441613647622</c:v>
                </c:pt>
                <c:pt idx="337">
                  <c:v>45.085811448377669</c:v>
                </c:pt>
                <c:pt idx="338">
                  <c:v>44.23190111830489</c:v>
                </c:pt>
                <c:pt idx="339">
                  <c:v>44.247783476741695</c:v>
                </c:pt>
                <c:pt idx="340">
                  <c:v>43.869643207488998</c:v>
                </c:pt>
                <c:pt idx="341">
                  <c:v>42.758812373291484</c:v>
                </c:pt>
                <c:pt idx="342">
                  <c:v>43.313760662200927</c:v>
                </c:pt>
                <c:pt idx="343">
                  <c:v>42.688743144893827</c:v>
                </c:pt>
                <c:pt idx="344">
                  <c:v>42.517073535319568</c:v>
                </c:pt>
                <c:pt idx="345">
                  <c:v>42.313872772966363</c:v>
                </c:pt>
                <c:pt idx="346">
                  <c:v>42.692013042219045</c:v>
                </c:pt>
                <c:pt idx="347">
                  <c:v>43.971243588665601</c:v>
                </c:pt>
                <c:pt idx="348">
                  <c:v>43.681857675383284</c:v>
                </c:pt>
                <c:pt idx="349">
                  <c:v>43.631874959126286</c:v>
                </c:pt>
                <c:pt idx="350">
                  <c:v>42.815101320104262</c:v>
                </c:pt>
                <c:pt idx="351">
                  <c:v>42.799919653951441</c:v>
                </c:pt>
                <c:pt idx="352">
                  <c:v>43.668778086082391</c:v>
                </c:pt>
                <c:pt idx="353">
                  <c:v>43.642618907480596</c:v>
                </c:pt>
                <c:pt idx="354">
                  <c:v>44.556088081691385</c:v>
                </c:pt>
                <c:pt idx="355">
                  <c:v>44.249418425404301</c:v>
                </c:pt>
                <c:pt idx="356">
                  <c:v>43.045862645627217</c:v>
                </c:pt>
                <c:pt idx="357">
                  <c:v>43.198847127628767</c:v>
                </c:pt>
                <c:pt idx="358">
                  <c:v>42.866718985023873</c:v>
                </c:pt>
                <c:pt idx="359">
                  <c:v>42.545568354867946</c:v>
                </c:pt>
                <c:pt idx="360">
                  <c:v>42.224884852901333</c:v>
                </c:pt>
                <c:pt idx="361">
                  <c:v>41.231770322411883</c:v>
                </c:pt>
                <c:pt idx="362">
                  <c:v>40.949858460158637</c:v>
                </c:pt>
                <c:pt idx="363">
                  <c:v>40.547661089156087</c:v>
                </c:pt>
                <c:pt idx="364">
                  <c:v>39.788811345609467</c:v>
                </c:pt>
                <c:pt idx="365">
                  <c:v>39.095826676756637</c:v>
                </c:pt>
                <c:pt idx="366">
                  <c:v>39.296691798163259</c:v>
                </c:pt>
                <c:pt idx="367">
                  <c:v>39.541700533460393</c:v>
                </c:pt>
                <c:pt idx="368">
                  <c:v>40.112064052617328</c:v>
                </c:pt>
                <c:pt idx="369">
                  <c:v>39.462055177181725</c:v>
                </c:pt>
                <c:pt idx="370">
                  <c:v>38.008352252024999</c:v>
                </c:pt>
                <c:pt idx="371">
                  <c:v>37.507590833076421</c:v>
                </c:pt>
                <c:pt idx="372">
                  <c:v>38.241215654399888</c:v>
                </c:pt>
                <c:pt idx="373">
                  <c:v>37.050739463923691</c:v>
                </c:pt>
                <c:pt idx="374">
                  <c:v>36.33790184702486</c:v>
                </c:pt>
                <c:pt idx="375">
                  <c:v>35.669908536300539</c:v>
                </c:pt>
                <c:pt idx="376">
                  <c:v>37.181068228743335</c:v>
                </c:pt>
                <c:pt idx="377">
                  <c:v>37.419070041200712</c:v>
                </c:pt>
                <c:pt idx="378">
                  <c:v>37.887132486897066</c:v>
                </c:pt>
                <c:pt idx="379">
                  <c:v>38.55138877210684</c:v>
                </c:pt>
                <c:pt idx="380">
                  <c:v>38.938638041051234</c:v>
                </c:pt>
                <c:pt idx="381">
                  <c:v>39.380774872240444</c:v>
                </c:pt>
                <c:pt idx="382">
                  <c:v>39.466726459074906</c:v>
                </c:pt>
                <c:pt idx="383">
                  <c:v>38.637573923035959</c:v>
                </c:pt>
                <c:pt idx="384">
                  <c:v>38.403776264282449</c:v>
                </c:pt>
                <c:pt idx="385">
                  <c:v>40.478058988947751</c:v>
                </c:pt>
                <c:pt idx="386">
                  <c:v>41.13437409493914</c:v>
                </c:pt>
                <c:pt idx="387">
                  <c:v>41.138111120453679</c:v>
                </c:pt>
                <c:pt idx="388">
                  <c:v>42.042938423162084</c:v>
                </c:pt>
                <c:pt idx="389">
                  <c:v>42.197557853826254</c:v>
                </c:pt>
                <c:pt idx="390">
                  <c:v>40.718162878257054</c:v>
                </c:pt>
                <c:pt idx="391">
                  <c:v>41.130403505329937</c:v>
                </c:pt>
                <c:pt idx="392">
                  <c:v>41.753085381690454</c:v>
                </c:pt>
                <c:pt idx="393">
                  <c:v>43.787428646169083</c:v>
                </c:pt>
                <c:pt idx="394">
                  <c:v>44.393761035903481</c:v>
                </c:pt>
                <c:pt idx="395">
                  <c:v>44.492792212038836</c:v>
                </c:pt>
                <c:pt idx="396">
                  <c:v>43.740715827237317</c:v>
                </c:pt>
                <c:pt idx="397">
                  <c:v>43.283864458084594</c:v>
                </c:pt>
                <c:pt idx="398">
                  <c:v>45.106131524612991</c:v>
                </c:pt>
                <c:pt idx="399">
                  <c:v>45.146771677083628</c:v>
                </c:pt>
                <c:pt idx="400">
                  <c:v>45.433588385324711</c:v>
                </c:pt>
                <c:pt idx="401">
                  <c:v>46.22607135850221</c:v>
                </c:pt>
                <c:pt idx="402">
                  <c:v>46.221166512514372</c:v>
                </c:pt>
                <c:pt idx="403">
                  <c:v>46.967403794949419</c:v>
                </c:pt>
                <c:pt idx="404">
                  <c:v>48.159514934088222</c:v>
                </c:pt>
                <c:pt idx="405">
                  <c:v>46.920924540112303</c:v>
                </c:pt>
                <c:pt idx="406">
                  <c:v>46.544185655427569</c:v>
                </c:pt>
                <c:pt idx="407">
                  <c:v>45.92640862505489</c:v>
                </c:pt>
                <c:pt idx="408">
                  <c:v>46.109055747078123</c:v>
                </c:pt>
                <c:pt idx="409">
                  <c:v>46.111858516214021</c:v>
                </c:pt>
                <c:pt idx="410">
                  <c:v>45.801218270317747</c:v>
                </c:pt>
                <c:pt idx="411">
                  <c:v>45.480301204256477</c:v>
                </c:pt>
                <c:pt idx="412">
                  <c:v>45.911927651186048</c:v>
                </c:pt>
                <c:pt idx="413">
                  <c:v>47.075076842587151</c:v>
                </c:pt>
                <c:pt idx="414">
                  <c:v>46.828666722722055</c:v>
                </c:pt>
                <c:pt idx="415">
                  <c:v>48.561245176901444</c:v>
                </c:pt>
                <c:pt idx="416">
                  <c:v>49.206582770443866</c:v>
                </c:pt>
                <c:pt idx="417">
                  <c:v>50.128226687967711</c:v>
                </c:pt>
                <c:pt idx="418">
                  <c:v>50.106038098975127</c:v>
                </c:pt>
                <c:pt idx="419">
                  <c:v>50.823079869577811</c:v>
                </c:pt>
                <c:pt idx="420">
                  <c:v>49.683987779926575</c:v>
                </c:pt>
                <c:pt idx="421">
                  <c:v>48.981193419098076</c:v>
                </c:pt>
                <c:pt idx="422">
                  <c:v>48.330483851378503</c:v>
                </c:pt>
                <c:pt idx="423">
                  <c:v>47.80986948438391</c:v>
                </c:pt>
                <c:pt idx="424">
                  <c:v>47.871763969468503</c:v>
                </c:pt>
                <c:pt idx="425">
                  <c:v>48.729878453245149</c:v>
                </c:pt>
                <c:pt idx="426">
                  <c:v>49.579584629614061</c:v>
                </c:pt>
                <c:pt idx="427">
                  <c:v>49.371011893083704</c:v>
                </c:pt>
                <c:pt idx="428">
                  <c:v>48.69624522361427</c:v>
                </c:pt>
                <c:pt idx="429">
                  <c:v>48.356876594074947</c:v>
                </c:pt>
                <c:pt idx="430">
                  <c:v>48.436054822164309</c:v>
                </c:pt>
                <c:pt idx="431">
                  <c:v>49.170146771677089</c:v>
                </c:pt>
                <c:pt idx="432">
                  <c:v>49.77040649495035</c:v>
                </c:pt>
                <c:pt idx="433">
                  <c:v>49.382690097816642</c:v>
                </c:pt>
                <c:pt idx="434">
                  <c:v>49.602473910890623</c:v>
                </c:pt>
                <c:pt idx="435">
                  <c:v>51.009464017115583</c:v>
                </c:pt>
                <c:pt idx="436">
                  <c:v>50.816072946738046</c:v>
                </c:pt>
                <c:pt idx="437">
                  <c:v>50.843399945813125</c:v>
                </c:pt>
                <c:pt idx="438">
                  <c:v>50.593486364528161</c:v>
                </c:pt>
                <c:pt idx="439">
                  <c:v>51.25423918831806</c:v>
                </c:pt>
                <c:pt idx="440">
                  <c:v>50.919541840671926</c:v>
                </c:pt>
                <c:pt idx="441">
                  <c:v>50.53579603314742</c:v>
                </c:pt>
                <c:pt idx="442">
                  <c:v>51.120874090267854</c:v>
                </c:pt>
                <c:pt idx="443">
                  <c:v>51.501583564561791</c:v>
                </c:pt>
                <c:pt idx="444">
                  <c:v>51.631445201192115</c:v>
                </c:pt>
                <c:pt idx="445">
                  <c:v>51.10102114222186</c:v>
                </c:pt>
                <c:pt idx="446">
                  <c:v>50.275372067602795</c:v>
                </c:pt>
                <c:pt idx="447">
                  <c:v>49.486158991750514</c:v>
                </c:pt>
                <c:pt idx="448">
                  <c:v>49.321963433205347</c:v>
                </c:pt>
                <c:pt idx="449">
                  <c:v>49.860095107299351</c:v>
                </c:pt>
                <c:pt idx="450">
                  <c:v>49.00268131580669</c:v>
                </c:pt>
                <c:pt idx="451">
                  <c:v>48.108364397357931</c:v>
                </c:pt>
                <c:pt idx="452">
                  <c:v>49.141651952128704</c:v>
                </c:pt>
                <c:pt idx="453">
                  <c:v>49.771807879518299</c:v>
                </c:pt>
                <c:pt idx="454">
                  <c:v>49.759896110690697</c:v>
                </c:pt>
                <c:pt idx="455">
                  <c:v>50.24173883797193</c:v>
                </c:pt>
                <c:pt idx="456">
                  <c:v>50.14434261049918</c:v>
                </c:pt>
                <c:pt idx="457">
                  <c:v>50.17634089146744</c:v>
                </c:pt>
                <c:pt idx="458">
                  <c:v>49.544783579509897</c:v>
                </c:pt>
                <c:pt idx="459">
                  <c:v>49.506011939796529</c:v>
                </c:pt>
                <c:pt idx="460">
                  <c:v>49.338312919831459</c:v>
                </c:pt>
                <c:pt idx="461">
                  <c:v>48.726141427730596</c:v>
                </c:pt>
                <c:pt idx="462">
                  <c:v>48.364350645104039</c:v>
                </c:pt>
                <c:pt idx="463">
                  <c:v>48.306426749628642</c:v>
                </c:pt>
                <c:pt idx="464">
                  <c:v>48.294748544895697</c:v>
                </c:pt>
                <c:pt idx="465">
                  <c:v>48.323009800349418</c:v>
                </c:pt>
                <c:pt idx="466">
                  <c:v>49.544316451320576</c:v>
                </c:pt>
                <c:pt idx="467">
                  <c:v>50.580873903416581</c:v>
                </c:pt>
                <c:pt idx="468">
                  <c:v>50.846436279043708</c:v>
                </c:pt>
                <c:pt idx="469">
                  <c:v>51.077431168661306</c:v>
                </c:pt>
                <c:pt idx="470">
                  <c:v>51.832543886693387</c:v>
                </c:pt>
                <c:pt idx="471">
                  <c:v>52.104879621065628</c:v>
                </c:pt>
                <c:pt idx="472">
                  <c:v>52.259265487635119</c:v>
                </c:pt>
                <c:pt idx="473">
                  <c:v>53.257051300017757</c:v>
                </c:pt>
                <c:pt idx="474">
                  <c:v>53.648971850855311</c:v>
                </c:pt>
                <c:pt idx="475">
                  <c:v>54.235918420733022</c:v>
                </c:pt>
                <c:pt idx="476">
                  <c:v>54.437484234423614</c:v>
                </c:pt>
                <c:pt idx="477">
                  <c:v>54.287536085652633</c:v>
                </c:pt>
                <c:pt idx="478">
                  <c:v>55.274344385586296</c:v>
                </c:pt>
                <c:pt idx="479">
                  <c:v>55.438072815942164</c:v>
                </c:pt>
                <c:pt idx="480">
                  <c:v>55.728860113792436</c:v>
                </c:pt>
                <c:pt idx="481">
                  <c:v>55.785149060605207</c:v>
                </c:pt>
                <c:pt idx="482">
                  <c:v>55.567233760288502</c:v>
                </c:pt>
                <c:pt idx="483">
                  <c:v>55.677476012967489</c:v>
                </c:pt>
                <c:pt idx="484">
                  <c:v>56.015910386128162</c:v>
                </c:pt>
                <c:pt idx="485">
                  <c:v>56.266758223791783</c:v>
                </c:pt>
                <c:pt idx="486">
                  <c:v>55.886282313592503</c:v>
                </c:pt>
                <c:pt idx="487">
                  <c:v>55.930425927483029</c:v>
                </c:pt>
                <c:pt idx="488">
                  <c:v>56.497753113409388</c:v>
                </c:pt>
                <c:pt idx="489">
                  <c:v>56.739491951381304</c:v>
                </c:pt>
                <c:pt idx="490">
                  <c:v>55.396498407092878</c:v>
                </c:pt>
                <c:pt idx="491">
                  <c:v>55.62328914300663</c:v>
                </c:pt>
                <c:pt idx="492">
                  <c:v>55.292795949064342</c:v>
                </c:pt>
                <c:pt idx="493">
                  <c:v>56.013808309276236</c:v>
                </c:pt>
                <c:pt idx="494">
                  <c:v>56.58837598213703</c:v>
                </c:pt>
                <c:pt idx="495">
                  <c:v>57.495071797602705</c:v>
                </c:pt>
                <c:pt idx="496">
                  <c:v>57.683791586087054</c:v>
                </c:pt>
                <c:pt idx="497">
                  <c:v>57.661602997094462</c:v>
                </c:pt>
                <c:pt idx="498">
                  <c:v>57.618393639582578</c:v>
                </c:pt>
                <c:pt idx="499">
                  <c:v>57.975980268505289</c:v>
                </c:pt>
                <c:pt idx="500">
                  <c:v>57.30284854769846</c:v>
                </c:pt>
                <c:pt idx="501">
                  <c:v>56.716836234199398</c:v>
                </c:pt>
                <c:pt idx="502">
                  <c:v>56.151143996935637</c:v>
                </c:pt>
                <c:pt idx="503">
                  <c:v>56.546801573287745</c:v>
                </c:pt>
                <c:pt idx="504">
                  <c:v>57.291403907060179</c:v>
                </c:pt>
                <c:pt idx="505">
                  <c:v>57.712519969730089</c:v>
                </c:pt>
                <c:pt idx="506">
                  <c:v>57.852658426525409</c:v>
                </c:pt>
                <c:pt idx="507">
                  <c:v>57.769976737016172</c:v>
                </c:pt>
                <c:pt idx="508">
                  <c:v>58.057727701635883</c:v>
                </c:pt>
                <c:pt idx="509">
                  <c:v>58.445210534674942</c:v>
                </c:pt>
                <c:pt idx="510">
                  <c:v>58.104440520567657</c:v>
                </c:pt>
                <c:pt idx="511">
                  <c:v>58.602632734475002</c:v>
                </c:pt>
                <c:pt idx="512">
                  <c:v>59.528480805702699</c:v>
                </c:pt>
                <c:pt idx="513">
                  <c:v>60.051197249549226</c:v>
                </c:pt>
                <c:pt idx="514">
                  <c:v>59.752235208385898</c:v>
                </c:pt>
                <c:pt idx="515">
                  <c:v>59.568420265889365</c:v>
                </c:pt>
                <c:pt idx="516">
                  <c:v>59.715799209619099</c:v>
                </c:pt>
                <c:pt idx="517">
                  <c:v>59.909890972280621</c:v>
                </c:pt>
                <c:pt idx="518">
                  <c:v>59.323177966497568</c:v>
                </c:pt>
                <c:pt idx="519">
                  <c:v>58.983575772863595</c:v>
                </c:pt>
                <c:pt idx="520">
                  <c:v>59.454908115885175</c:v>
                </c:pt>
                <c:pt idx="521">
                  <c:v>60.0411539934789</c:v>
                </c:pt>
                <c:pt idx="522">
                  <c:v>60.271214626717871</c:v>
                </c:pt>
                <c:pt idx="523">
                  <c:v>59.549034446032692</c:v>
                </c:pt>
                <c:pt idx="524">
                  <c:v>58.024795164288989</c:v>
                </c:pt>
                <c:pt idx="525">
                  <c:v>58.460859329017069</c:v>
                </c:pt>
                <c:pt idx="526">
                  <c:v>59.121378588712325</c:v>
                </c:pt>
                <c:pt idx="527">
                  <c:v>60.129207657165281</c:v>
                </c:pt>
                <c:pt idx="528">
                  <c:v>60.74675112344331</c:v>
                </c:pt>
                <c:pt idx="529">
                  <c:v>60.82779786428992</c:v>
                </c:pt>
                <c:pt idx="530">
                  <c:v>60.931033194129135</c:v>
                </c:pt>
                <c:pt idx="531">
                  <c:v>60.713818586096401</c:v>
                </c:pt>
                <c:pt idx="532">
                  <c:v>61.614441735100954</c:v>
                </c:pt>
                <c:pt idx="533">
                  <c:v>61.776768780888858</c:v>
                </c:pt>
                <c:pt idx="534">
                  <c:v>61.621448657940711</c:v>
                </c:pt>
                <c:pt idx="535">
                  <c:v>61.870895111036376</c:v>
                </c:pt>
                <c:pt idx="536">
                  <c:v>62.029018003120427</c:v>
                </c:pt>
                <c:pt idx="537">
                  <c:v>61.570064557115778</c:v>
                </c:pt>
                <c:pt idx="538">
                  <c:v>61.20990872315182</c:v>
                </c:pt>
                <c:pt idx="539">
                  <c:v>60.91912142530154</c:v>
                </c:pt>
                <c:pt idx="540">
                  <c:v>60.393368648224452</c:v>
                </c:pt>
                <c:pt idx="541">
                  <c:v>59.90288404944085</c:v>
                </c:pt>
                <c:pt idx="542">
                  <c:v>58.498229584162495</c:v>
                </c:pt>
                <c:pt idx="543">
                  <c:v>58.830824854956695</c:v>
                </c:pt>
                <c:pt idx="544">
                  <c:v>58.635565271821896</c:v>
                </c:pt>
                <c:pt idx="545">
                  <c:v>58.576006427683893</c:v>
                </c:pt>
                <c:pt idx="546">
                  <c:v>58.609639657314773</c:v>
                </c:pt>
                <c:pt idx="547">
                  <c:v>58.751179498678027</c:v>
                </c:pt>
                <c:pt idx="548">
                  <c:v>59.060184795911709</c:v>
                </c:pt>
                <c:pt idx="549">
                  <c:v>59.6113960593066</c:v>
                </c:pt>
                <c:pt idx="550">
                  <c:v>60.493100516643786</c:v>
                </c:pt>
                <c:pt idx="551">
                  <c:v>60.804908583013351</c:v>
                </c:pt>
                <c:pt idx="552">
                  <c:v>61.318516027168194</c:v>
                </c:pt>
                <c:pt idx="553">
                  <c:v>61.647140708353184</c:v>
                </c:pt>
                <c:pt idx="554">
                  <c:v>61.624017862981972</c:v>
                </c:pt>
                <c:pt idx="555">
                  <c:v>62.115203154049539</c:v>
                </c:pt>
                <c:pt idx="556">
                  <c:v>62.060549155899366</c:v>
                </c:pt>
                <c:pt idx="557">
                  <c:v>61.626353503928556</c:v>
                </c:pt>
                <c:pt idx="558">
                  <c:v>60.945280603903328</c:v>
                </c:pt>
                <c:pt idx="559">
                  <c:v>60.684155946074725</c:v>
                </c:pt>
                <c:pt idx="560">
                  <c:v>61.165064416977309</c:v>
                </c:pt>
                <c:pt idx="561">
                  <c:v>60.712183637433789</c:v>
                </c:pt>
                <c:pt idx="562">
                  <c:v>60.914450143408359</c:v>
                </c:pt>
                <c:pt idx="563">
                  <c:v>59.889103767855978</c:v>
                </c:pt>
                <c:pt idx="564">
                  <c:v>59.39885273316704</c:v>
                </c:pt>
                <c:pt idx="565">
                  <c:v>59.590842418976621</c:v>
                </c:pt>
                <c:pt idx="566">
                  <c:v>60.625531358315357</c:v>
                </c:pt>
                <c:pt idx="567">
                  <c:v>61.083550547941378</c:v>
                </c:pt>
                <c:pt idx="568">
                  <c:v>60.970505526126487</c:v>
                </c:pt>
                <c:pt idx="569">
                  <c:v>61.421984921102059</c:v>
                </c:pt>
                <c:pt idx="570">
                  <c:v>61.55278081411101</c:v>
                </c:pt>
                <c:pt idx="571">
                  <c:v>61.227893158440551</c:v>
                </c:pt>
                <c:pt idx="572">
                  <c:v>60.678783971897566</c:v>
                </c:pt>
                <c:pt idx="573">
                  <c:v>60.987789269131241</c:v>
                </c:pt>
                <c:pt idx="574">
                  <c:v>61.557218531909527</c:v>
                </c:pt>
                <c:pt idx="575">
                  <c:v>61.809467754141103</c:v>
                </c:pt>
                <c:pt idx="576">
                  <c:v>61.921578519577345</c:v>
                </c:pt>
                <c:pt idx="577">
                  <c:v>62.049571643450399</c:v>
                </c:pt>
                <c:pt idx="578">
                  <c:v>62.215402150658186</c:v>
                </c:pt>
                <c:pt idx="579">
                  <c:v>62.170090716294382</c:v>
                </c:pt>
                <c:pt idx="580">
                  <c:v>62.278698020310742</c:v>
                </c:pt>
                <c:pt idx="581">
                  <c:v>62.941085792763253</c:v>
                </c:pt>
                <c:pt idx="582">
                  <c:v>62.955333202537446</c:v>
                </c:pt>
                <c:pt idx="583">
                  <c:v>63.115791735568081</c:v>
                </c:pt>
                <c:pt idx="584">
                  <c:v>63.09173463381822</c:v>
                </c:pt>
                <c:pt idx="585">
                  <c:v>63.285826396479727</c:v>
                </c:pt>
                <c:pt idx="586">
                  <c:v>63.651587768715501</c:v>
                </c:pt>
                <c:pt idx="587">
                  <c:v>63.811345609462158</c:v>
                </c:pt>
                <c:pt idx="588">
                  <c:v>63.911077477881491</c:v>
                </c:pt>
                <c:pt idx="589">
                  <c:v>63.911077477881491</c:v>
                </c:pt>
                <c:pt idx="590">
                  <c:v>64.454814690247304</c:v>
                </c:pt>
                <c:pt idx="591">
                  <c:v>65.324373814662223</c:v>
                </c:pt>
                <c:pt idx="592">
                  <c:v>65.528275269299414</c:v>
                </c:pt>
                <c:pt idx="593">
                  <c:v>65.599045189981041</c:v>
                </c:pt>
                <c:pt idx="594">
                  <c:v>65.991199304913266</c:v>
                </c:pt>
                <c:pt idx="595">
                  <c:v>65.638050393789072</c:v>
                </c:pt>
                <c:pt idx="596">
                  <c:v>65.16484953801023</c:v>
                </c:pt>
                <c:pt idx="597">
                  <c:v>65.018404850659124</c:v>
                </c:pt>
                <c:pt idx="598">
                  <c:v>65.786363593897448</c:v>
                </c:pt>
                <c:pt idx="599">
                  <c:v>65.623335855825559</c:v>
                </c:pt>
                <c:pt idx="600">
                  <c:v>65.628240701813397</c:v>
                </c:pt>
                <c:pt idx="601">
                  <c:v>65.944720050076143</c:v>
                </c:pt>
                <c:pt idx="602">
                  <c:v>65.942384409129559</c:v>
                </c:pt>
                <c:pt idx="603">
                  <c:v>65.250801124844685</c:v>
                </c:pt>
                <c:pt idx="604">
                  <c:v>64.019684781897851</c:v>
                </c:pt>
                <c:pt idx="605">
                  <c:v>63.750618944850842</c:v>
                </c:pt>
                <c:pt idx="606">
                  <c:v>63.548819567065593</c:v>
                </c:pt>
                <c:pt idx="607">
                  <c:v>63.254995935984759</c:v>
                </c:pt>
                <c:pt idx="608">
                  <c:v>63.640376692171877</c:v>
                </c:pt>
                <c:pt idx="609">
                  <c:v>63.315722600596061</c:v>
                </c:pt>
                <c:pt idx="610">
                  <c:v>63.636172538468017</c:v>
                </c:pt>
                <c:pt idx="611">
                  <c:v>63.982781654941753</c:v>
                </c:pt>
                <c:pt idx="612">
                  <c:v>64.439633024094476</c:v>
                </c:pt>
                <c:pt idx="613">
                  <c:v>63.538542746900603</c:v>
                </c:pt>
                <c:pt idx="614">
                  <c:v>62.919364331959983</c:v>
                </c:pt>
                <c:pt idx="615">
                  <c:v>62.430514681838986</c:v>
                </c:pt>
                <c:pt idx="616">
                  <c:v>62.912824537309533</c:v>
                </c:pt>
                <c:pt idx="617">
                  <c:v>63.414520212636759</c:v>
                </c:pt>
                <c:pt idx="618">
                  <c:v>64.114745368424011</c:v>
                </c:pt>
                <c:pt idx="619">
                  <c:v>63.902435606379107</c:v>
                </c:pt>
                <c:pt idx="620">
                  <c:v>64.03369862757738</c:v>
                </c:pt>
                <c:pt idx="621">
                  <c:v>64.397825051150534</c:v>
                </c:pt>
                <c:pt idx="622">
                  <c:v>65.381830581948307</c:v>
                </c:pt>
                <c:pt idx="623">
                  <c:v>65.649728598522017</c:v>
                </c:pt>
                <c:pt idx="624">
                  <c:v>65.766277081756783</c:v>
                </c:pt>
                <c:pt idx="625">
                  <c:v>65.896605846576421</c:v>
                </c:pt>
                <c:pt idx="626">
                  <c:v>65.729607518895335</c:v>
                </c:pt>
                <c:pt idx="627">
                  <c:v>65.468716425161404</c:v>
                </c:pt>
                <c:pt idx="628">
                  <c:v>65.113932565374597</c:v>
                </c:pt>
                <c:pt idx="629">
                  <c:v>65.271821893363978</c:v>
                </c:pt>
                <c:pt idx="630">
                  <c:v>66.502704672216169</c:v>
                </c:pt>
                <c:pt idx="631">
                  <c:v>66.732998869549789</c:v>
                </c:pt>
                <c:pt idx="632">
                  <c:v>66.49312854433515</c:v>
                </c:pt>
                <c:pt idx="633">
                  <c:v>66.686052486523366</c:v>
                </c:pt>
                <c:pt idx="634">
                  <c:v>67.498154843652202</c:v>
                </c:pt>
                <c:pt idx="635">
                  <c:v>67.774461167633632</c:v>
                </c:pt>
                <c:pt idx="636">
                  <c:v>68.060577183590738</c:v>
                </c:pt>
                <c:pt idx="637">
                  <c:v>68.150032231845074</c:v>
                </c:pt>
                <c:pt idx="638">
                  <c:v>68.217065127012148</c:v>
                </c:pt>
                <c:pt idx="639">
                  <c:v>68.200248512196723</c:v>
                </c:pt>
                <c:pt idx="640">
                  <c:v>68.246260638844518</c:v>
                </c:pt>
                <c:pt idx="641">
                  <c:v>68.410923325579006</c:v>
                </c:pt>
                <c:pt idx="642">
                  <c:v>69.040845688873944</c:v>
                </c:pt>
                <c:pt idx="643">
                  <c:v>69.562627876341836</c:v>
                </c:pt>
                <c:pt idx="644">
                  <c:v>69.231667554210233</c:v>
                </c:pt>
                <c:pt idx="645">
                  <c:v>69.106710763567747</c:v>
                </c:pt>
                <c:pt idx="646">
                  <c:v>69.436503265226051</c:v>
                </c:pt>
                <c:pt idx="647">
                  <c:v>69.648345899081633</c:v>
                </c:pt>
                <c:pt idx="648">
                  <c:v>69.82328540598111</c:v>
                </c:pt>
                <c:pt idx="649">
                  <c:v>69.57360538879081</c:v>
                </c:pt>
                <c:pt idx="650">
                  <c:v>69.955249119463375</c:v>
                </c:pt>
                <c:pt idx="651">
                  <c:v>70.178069265767917</c:v>
                </c:pt>
                <c:pt idx="652">
                  <c:v>69.520119211113922</c:v>
                </c:pt>
                <c:pt idx="653">
                  <c:v>70.245569289124333</c:v>
                </c:pt>
                <c:pt idx="654">
                  <c:v>70.284340928837693</c:v>
                </c:pt>
                <c:pt idx="655">
                  <c:v>70.597316815680571</c:v>
                </c:pt>
                <c:pt idx="656">
                  <c:v>71.32954025243609</c:v>
                </c:pt>
                <c:pt idx="657">
                  <c:v>71.433242710464611</c:v>
                </c:pt>
                <c:pt idx="658">
                  <c:v>71.112559208497998</c:v>
                </c:pt>
                <c:pt idx="659">
                  <c:v>71.316927791324503</c:v>
                </c:pt>
                <c:pt idx="660">
                  <c:v>70.771555630296078</c:v>
                </c:pt>
                <c:pt idx="661">
                  <c:v>70.840924166409764</c:v>
                </c:pt>
                <c:pt idx="662">
                  <c:v>71.245223614264233</c:v>
                </c:pt>
                <c:pt idx="663">
                  <c:v>71.605145884133535</c:v>
                </c:pt>
                <c:pt idx="664">
                  <c:v>71.099946747386426</c:v>
                </c:pt>
                <c:pt idx="665">
                  <c:v>70.865915524538252</c:v>
                </c:pt>
                <c:pt idx="666">
                  <c:v>71.518727169109752</c:v>
                </c:pt>
                <c:pt idx="667">
                  <c:v>71.741547315414294</c:v>
                </c:pt>
                <c:pt idx="668">
                  <c:v>71.706512701215473</c:v>
                </c:pt>
                <c:pt idx="669">
                  <c:v>71.589497089791394</c:v>
                </c:pt>
                <c:pt idx="670">
                  <c:v>71.926997206573446</c:v>
                </c:pt>
                <c:pt idx="671">
                  <c:v>70.66948812093014</c:v>
                </c:pt>
                <c:pt idx="672">
                  <c:v>70.339228491082523</c:v>
                </c:pt>
                <c:pt idx="673">
                  <c:v>70.89674598503322</c:v>
                </c:pt>
                <c:pt idx="674">
                  <c:v>70.626979455702241</c:v>
                </c:pt>
                <c:pt idx="675">
                  <c:v>71.207386230929501</c:v>
                </c:pt>
                <c:pt idx="676">
                  <c:v>70.520240664443151</c:v>
                </c:pt>
                <c:pt idx="677">
                  <c:v>70.346235413922301</c:v>
                </c:pt>
                <c:pt idx="678">
                  <c:v>69.727290563076323</c:v>
                </c:pt>
                <c:pt idx="679">
                  <c:v>68.549426833711706</c:v>
                </c:pt>
                <c:pt idx="680">
                  <c:v>70.530984612797454</c:v>
                </c:pt>
                <c:pt idx="681">
                  <c:v>70.872455319188703</c:v>
                </c:pt>
                <c:pt idx="682">
                  <c:v>71.677317189383118</c:v>
                </c:pt>
                <c:pt idx="683">
                  <c:v>72.144912506890151</c:v>
                </c:pt>
                <c:pt idx="684">
                  <c:v>71.375552379083871</c:v>
                </c:pt>
                <c:pt idx="685">
                  <c:v>71.073787568784638</c:v>
                </c:pt>
                <c:pt idx="686">
                  <c:v>71.18146061642237</c:v>
                </c:pt>
                <c:pt idx="687">
                  <c:v>70.122247447144446</c:v>
                </c:pt>
                <c:pt idx="688">
                  <c:v>68.64705662527912</c:v>
                </c:pt>
                <c:pt idx="689">
                  <c:v>67.775161859917603</c:v>
                </c:pt>
                <c:pt idx="690">
                  <c:v>68.560404346160681</c:v>
                </c:pt>
                <c:pt idx="691">
                  <c:v>67.842428319179348</c:v>
                </c:pt>
                <c:pt idx="692">
                  <c:v>68.561105038444651</c:v>
                </c:pt>
                <c:pt idx="693">
                  <c:v>69.998224912880602</c:v>
                </c:pt>
                <c:pt idx="694">
                  <c:v>69.797126227379323</c:v>
                </c:pt>
                <c:pt idx="695">
                  <c:v>70.125517344469671</c:v>
                </c:pt>
                <c:pt idx="696">
                  <c:v>69.737567383241313</c:v>
                </c:pt>
                <c:pt idx="697">
                  <c:v>70.598017507964542</c:v>
                </c:pt>
                <c:pt idx="698">
                  <c:v>71.44725655614414</c:v>
                </c:pt>
                <c:pt idx="699">
                  <c:v>70.963078187916338</c:v>
                </c:pt>
                <c:pt idx="700">
                  <c:v>70.698450068667853</c:v>
                </c:pt>
                <c:pt idx="701">
                  <c:v>70.74726496445156</c:v>
                </c:pt>
                <c:pt idx="702">
                  <c:v>70.896979549127877</c:v>
                </c:pt>
                <c:pt idx="703">
                  <c:v>71.998934947728372</c:v>
                </c:pt>
                <c:pt idx="704">
                  <c:v>72.545241365135439</c:v>
                </c:pt>
                <c:pt idx="705">
                  <c:v>72.338303577267681</c:v>
                </c:pt>
                <c:pt idx="706">
                  <c:v>72.924082326672092</c:v>
                </c:pt>
                <c:pt idx="707">
                  <c:v>73.309696646953853</c:v>
                </c:pt>
                <c:pt idx="708">
                  <c:v>73.262516699832773</c:v>
                </c:pt>
                <c:pt idx="709">
                  <c:v>73.516400870726955</c:v>
                </c:pt>
                <c:pt idx="710">
                  <c:v>73.999411418481458</c:v>
                </c:pt>
                <c:pt idx="711">
                  <c:v>73.86651344862058</c:v>
                </c:pt>
                <c:pt idx="712">
                  <c:v>73.363416388725398</c:v>
                </c:pt>
                <c:pt idx="713">
                  <c:v>72.399497370068303</c:v>
                </c:pt>
                <c:pt idx="714">
                  <c:v>72.310976578192594</c:v>
                </c:pt>
                <c:pt idx="715">
                  <c:v>72.661789848370191</c:v>
                </c:pt>
                <c:pt idx="716">
                  <c:v>71.719358726421717</c:v>
                </c:pt>
                <c:pt idx="717">
                  <c:v>71.150396591832731</c:v>
                </c:pt>
                <c:pt idx="718">
                  <c:v>69.832627969767472</c:v>
                </c:pt>
                <c:pt idx="719">
                  <c:v>69.408942702056308</c:v>
                </c:pt>
                <c:pt idx="720">
                  <c:v>69.454020572325462</c:v>
                </c:pt>
                <c:pt idx="721">
                  <c:v>70.209133290357542</c:v>
                </c:pt>
                <c:pt idx="722">
                  <c:v>71.113727028971297</c:v>
                </c:pt>
                <c:pt idx="723">
                  <c:v>71.639713370143028</c:v>
                </c:pt>
                <c:pt idx="724">
                  <c:v>72.392957575417853</c:v>
                </c:pt>
                <c:pt idx="725">
                  <c:v>72.584013004848799</c:v>
                </c:pt>
                <c:pt idx="726">
                  <c:v>72.981305529863505</c:v>
                </c:pt>
                <c:pt idx="727">
                  <c:v>72.852378149611823</c:v>
                </c:pt>
                <c:pt idx="728">
                  <c:v>71.972775769126571</c:v>
                </c:pt>
                <c:pt idx="729">
                  <c:v>70.832982987191357</c:v>
                </c:pt>
                <c:pt idx="730">
                  <c:v>70.573960406214681</c:v>
                </c:pt>
                <c:pt idx="731">
                  <c:v>71.143856797182295</c:v>
                </c:pt>
                <c:pt idx="732">
                  <c:v>71.487896708614784</c:v>
                </c:pt>
                <c:pt idx="733">
                  <c:v>72.008744639704034</c:v>
                </c:pt>
                <c:pt idx="734">
                  <c:v>72.925717275334705</c:v>
                </c:pt>
                <c:pt idx="735">
                  <c:v>73.039462989433574</c:v>
                </c:pt>
                <c:pt idx="736">
                  <c:v>73.106262320506005</c:v>
                </c:pt>
                <c:pt idx="737">
                  <c:v>72.798424843745622</c:v>
                </c:pt>
                <c:pt idx="738">
                  <c:v>72.435466240645766</c:v>
                </c:pt>
                <c:pt idx="739">
                  <c:v>72.468632342087318</c:v>
                </c:pt>
                <c:pt idx="740">
                  <c:v>73.127516653119955</c:v>
                </c:pt>
                <c:pt idx="741">
                  <c:v>73.023814195091433</c:v>
                </c:pt>
                <c:pt idx="742">
                  <c:v>73.314134364752377</c:v>
                </c:pt>
                <c:pt idx="743">
                  <c:v>73.314601492941705</c:v>
                </c:pt>
                <c:pt idx="744">
                  <c:v>72.451582163177235</c:v>
                </c:pt>
                <c:pt idx="745">
                  <c:v>73.017040836346311</c:v>
                </c:pt>
                <c:pt idx="746">
                  <c:v>73.218840214131561</c:v>
                </c:pt>
                <c:pt idx="747">
                  <c:v>72.538935134579631</c:v>
                </c:pt>
                <c:pt idx="748">
                  <c:v>72.481478367293562</c:v>
                </c:pt>
                <c:pt idx="749">
                  <c:v>72.971262273793187</c:v>
                </c:pt>
                <c:pt idx="750">
                  <c:v>72.544540672851454</c:v>
                </c:pt>
                <c:pt idx="751">
                  <c:v>73.150639498491174</c:v>
                </c:pt>
                <c:pt idx="752">
                  <c:v>73.145267524314022</c:v>
                </c:pt>
                <c:pt idx="753">
                  <c:v>72.540570083242244</c:v>
                </c:pt>
                <c:pt idx="754">
                  <c:v>72.789315844053931</c:v>
                </c:pt>
                <c:pt idx="755">
                  <c:v>73.144333267935394</c:v>
                </c:pt>
                <c:pt idx="756">
                  <c:v>72.34858039743267</c:v>
                </c:pt>
                <c:pt idx="757">
                  <c:v>72.543606416472812</c:v>
                </c:pt>
                <c:pt idx="758">
                  <c:v>72.368666909573335</c:v>
                </c:pt>
                <c:pt idx="759">
                  <c:v>73.154376524005727</c:v>
                </c:pt>
                <c:pt idx="760">
                  <c:v>73.22911703429655</c:v>
                </c:pt>
                <c:pt idx="761">
                  <c:v>73.057914552911612</c:v>
                </c:pt>
                <c:pt idx="762">
                  <c:v>74.133944337004976</c:v>
                </c:pt>
                <c:pt idx="763">
                  <c:v>74.350224688659068</c:v>
                </c:pt>
                <c:pt idx="764">
                  <c:v>74.73420406027823</c:v>
                </c:pt>
                <c:pt idx="765">
                  <c:v>75.02335640946589</c:v>
                </c:pt>
                <c:pt idx="766">
                  <c:v>75.201332249595936</c:v>
                </c:pt>
                <c:pt idx="767">
                  <c:v>75.371834038696917</c:v>
                </c:pt>
                <c:pt idx="768">
                  <c:v>75.991479581826852</c:v>
                </c:pt>
                <c:pt idx="769">
                  <c:v>76.115034987901382</c:v>
                </c:pt>
                <c:pt idx="770">
                  <c:v>76.115268551996053</c:v>
                </c:pt>
                <c:pt idx="771">
                  <c:v>75.685977746013066</c:v>
                </c:pt>
                <c:pt idx="772">
                  <c:v>75.539533058661974</c:v>
                </c:pt>
                <c:pt idx="773">
                  <c:v>74.82085633939667</c:v>
                </c:pt>
                <c:pt idx="774">
                  <c:v>74.82599474947915</c:v>
                </c:pt>
                <c:pt idx="775">
                  <c:v>75.350813270177611</c:v>
                </c:pt>
                <c:pt idx="776">
                  <c:v>74.953287181068234</c:v>
                </c:pt>
                <c:pt idx="777">
                  <c:v>73.627577379784569</c:v>
                </c:pt>
                <c:pt idx="778">
                  <c:v>73.684800582975996</c:v>
                </c:pt>
                <c:pt idx="779">
                  <c:v>73.7221708381214</c:v>
                </c:pt>
                <c:pt idx="780">
                  <c:v>73.812560142754378</c:v>
                </c:pt>
                <c:pt idx="781">
                  <c:v>73.504956230088666</c:v>
                </c:pt>
                <c:pt idx="782">
                  <c:v>73.131253678634494</c:v>
                </c:pt>
                <c:pt idx="783">
                  <c:v>72.796322766893709</c:v>
                </c:pt>
                <c:pt idx="784">
                  <c:v>72.424021600007478</c:v>
                </c:pt>
                <c:pt idx="785">
                  <c:v>72.718779487466961</c:v>
                </c:pt>
                <c:pt idx="786">
                  <c:v>72.969627325130574</c:v>
                </c:pt>
                <c:pt idx="787">
                  <c:v>73.174463036146392</c:v>
                </c:pt>
                <c:pt idx="788">
                  <c:v>73.061184450236837</c:v>
                </c:pt>
                <c:pt idx="789">
                  <c:v>73.016807272251654</c:v>
                </c:pt>
                <c:pt idx="790">
                  <c:v>73.339826415164865</c:v>
                </c:pt>
                <c:pt idx="791">
                  <c:v>73.34309631249009</c:v>
                </c:pt>
                <c:pt idx="792">
                  <c:v>73.656072199332954</c:v>
                </c:pt>
                <c:pt idx="793">
                  <c:v>73.331651671851787</c:v>
                </c:pt>
                <c:pt idx="794">
                  <c:v>73.572456253445068</c:v>
                </c:pt>
                <c:pt idx="795">
                  <c:v>73.909722806132464</c:v>
                </c:pt>
                <c:pt idx="796">
                  <c:v>74.024636340704618</c:v>
                </c:pt>
                <c:pt idx="797">
                  <c:v>73.621037585134118</c:v>
                </c:pt>
                <c:pt idx="798">
                  <c:v>73.564047946037363</c:v>
                </c:pt>
                <c:pt idx="799">
                  <c:v>73.658407840279537</c:v>
                </c:pt>
                <c:pt idx="800">
                  <c:v>73.815596475984947</c:v>
                </c:pt>
                <c:pt idx="801">
                  <c:v>74.059437390808796</c:v>
                </c:pt>
                <c:pt idx="802">
                  <c:v>73.742724478451393</c:v>
                </c:pt>
                <c:pt idx="803">
                  <c:v>73.696478787708926</c:v>
                </c:pt>
                <c:pt idx="804">
                  <c:v>74.047525621981194</c:v>
                </c:pt>
                <c:pt idx="805">
                  <c:v>74.39390117436028</c:v>
                </c:pt>
                <c:pt idx="806">
                  <c:v>74.252127768902355</c:v>
                </c:pt>
                <c:pt idx="807">
                  <c:v>74.211954744621025</c:v>
                </c:pt>
                <c:pt idx="808">
                  <c:v>74.520492913665365</c:v>
                </c:pt>
                <c:pt idx="809">
                  <c:v>75.283079682726537</c:v>
                </c:pt>
                <c:pt idx="810">
                  <c:v>75.620112671319276</c:v>
                </c:pt>
                <c:pt idx="811">
                  <c:v>75.686678438297051</c:v>
                </c:pt>
                <c:pt idx="812">
                  <c:v>75.979801377093921</c:v>
                </c:pt>
                <c:pt idx="813">
                  <c:v>75.983304838513803</c:v>
                </c:pt>
                <c:pt idx="814">
                  <c:v>75.217915300316719</c:v>
                </c:pt>
                <c:pt idx="815">
                  <c:v>75.886142175135717</c:v>
                </c:pt>
                <c:pt idx="816">
                  <c:v>74.999299307716029</c:v>
                </c:pt>
                <c:pt idx="817">
                  <c:v>75.036435998766791</c:v>
                </c:pt>
                <c:pt idx="818">
                  <c:v>75.534628212674122</c:v>
                </c:pt>
                <c:pt idx="819">
                  <c:v>75.208105608341043</c:v>
                </c:pt>
                <c:pt idx="820">
                  <c:v>75.260657529639289</c:v>
                </c:pt>
                <c:pt idx="821">
                  <c:v>74.868036286517764</c:v>
                </c:pt>
                <c:pt idx="822">
                  <c:v>75.572699160103525</c:v>
                </c:pt>
                <c:pt idx="823">
                  <c:v>75.822846305483154</c:v>
                </c:pt>
                <c:pt idx="824">
                  <c:v>75.918374020198627</c:v>
                </c:pt>
                <c:pt idx="825">
                  <c:v>75.93308855816214</c:v>
                </c:pt>
                <c:pt idx="826">
                  <c:v>76.017171632239325</c:v>
                </c:pt>
                <c:pt idx="827">
                  <c:v>77.0278034698282</c:v>
                </c:pt>
                <c:pt idx="828">
                  <c:v>77.440978353279704</c:v>
                </c:pt>
                <c:pt idx="829">
                  <c:v>76.639619944505171</c:v>
                </c:pt>
                <c:pt idx="830">
                  <c:v>76.922466063137051</c:v>
                </c:pt>
                <c:pt idx="831">
                  <c:v>77.023599316124333</c:v>
                </c:pt>
                <c:pt idx="832">
                  <c:v>77.462699814082995</c:v>
                </c:pt>
                <c:pt idx="833">
                  <c:v>78.074404177994523</c:v>
                </c:pt>
                <c:pt idx="834">
                  <c:v>78.049879948055363</c:v>
                </c:pt>
                <c:pt idx="835">
                  <c:v>77.666834832814828</c:v>
                </c:pt>
                <c:pt idx="836">
                  <c:v>77.924923157412877</c:v>
                </c:pt>
                <c:pt idx="837">
                  <c:v>77.656324448555182</c:v>
                </c:pt>
                <c:pt idx="838">
                  <c:v>78.186047815241466</c:v>
                </c:pt>
                <c:pt idx="839">
                  <c:v>77.973738053196556</c:v>
                </c:pt>
                <c:pt idx="840">
                  <c:v>78.186982071620108</c:v>
                </c:pt>
                <c:pt idx="841">
                  <c:v>78.732354232648532</c:v>
                </c:pt>
                <c:pt idx="842">
                  <c:v>79.254369984211081</c:v>
                </c:pt>
                <c:pt idx="843">
                  <c:v>79.474153797285069</c:v>
                </c:pt>
                <c:pt idx="844">
                  <c:v>79.288703906125917</c:v>
                </c:pt>
                <c:pt idx="845">
                  <c:v>78.975728019283054</c:v>
                </c:pt>
                <c:pt idx="846">
                  <c:v>79.283098367854109</c:v>
                </c:pt>
                <c:pt idx="847">
                  <c:v>79.555901230415657</c:v>
                </c:pt>
                <c:pt idx="848">
                  <c:v>78.767155282752697</c:v>
                </c:pt>
                <c:pt idx="849">
                  <c:v>78.269663761129337</c:v>
                </c:pt>
                <c:pt idx="850">
                  <c:v>78.883236637798149</c:v>
                </c:pt>
                <c:pt idx="851">
                  <c:v>79.138522193260286</c:v>
                </c:pt>
                <c:pt idx="852">
                  <c:v>79.819361529190843</c:v>
                </c:pt>
                <c:pt idx="853">
                  <c:v>80.391126432915726</c:v>
                </c:pt>
                <c:pt idx="854">
                  <c:v>80.682380858955327</c:v>
                </c:pt>
                <c:pt idx="855">
                  <c:v>80.28041705204744</c:v>
                </c:pt>
                <c:pt idx="856">
                  <c:v>80.354690434148949</c:v>
                </c:pt>
                <c:pt idx="857">
                  <c:v>80.304474153797287</c:v>
                </c:pt>
                <c:pt idx="858">
                  <c:v>79.339854442856222</c:v>
                </c:pt>
                <c:pt idx="859">
                  <c:v>79.198314601492953</c:v>
                </c:pt>
                <c:pt idx="860">
                  <c:v>79.48770051477527</c:v>
                </c:pt>
                <c:pt idx="861">
                  <c:v>79.385165877220047</c:v>
                </c:pt>
                <c:pt idx="862">
                  <c:v>78.714369797359794</c:v>
                </c:pt>
                <c:pt idx="863">
                  <c:v>78.457916421424372</c:v>
                </c:pt>
                <c:pt idx="864">
                  <c:v>77.923755336939564</c:v>
                </c:pt>
                <c:pt idx="865">
                  <c:v>78.062258845072265</c:v>
                </c:pt>
                <c:pt idx="866">
                  <c:v>77.809308930556725</c:v>
                </c:pt>
                <c:pt idx="867">
                  <c:v>78.057821127273769</c:v>
                </c:pt>
                <c:pt idx="868">
                  <c:v>78.081411100834302</c:v>
                </c:pt>
                <c:pt idx="869">
                  <c:v>77.909975055354693</c:v>
                </c:pt>
                <c:pt idx="870">
                  <c:v>77.36366863794764</c:v>
                </c:pt>
                <c:pt idx="871">
                  <c:v>77.996627334473132</c:v>
                </c:pt>
                <c:pt idx="872">
                  <c:v>78.085148126348841</c:v>
                </c:pt>
                <c:pt idx="873">
                  <c:v>78.97339237833647</c:v>
                </c:pt>
                <c:pt idx="874">
                  <c:v>79.45406728514439</c:v>
                </c:pt>
                <c:pt idx="875">
                  <c:v>79.887328680736573</c:v>
                </c:pt>
                <c:pt idx="876">
                  <c:v>79.462475592552124</c:v>
                </c:pt>
                <c:pt idx="877">
                  <c:v>79.086670964246025</c:v>
                </c:pt>
                <c:pt idx="878">
                  <c:v>79.253202163737782</c:v>
                </c:pt>
                <c:pt idx="879">
                  <c:v>79.430710875678514</c:v>
                </c:pt>
                <c:pt idx="880">
                  <c:v>80.136541569737588</c:v>
                </c:pt>
                <c:pt idx="881">
                  <c:v>79.841550118183449</c:v>
                </c:pt>
                <c:pt idx="882">
                  <c:v>80.149854723133132</c:v>
                </c:pt>
                <c:pt idx="883">
                  <c:v>80.45115240524305</c:v>
                </c:pt>
                <c:pt idx="884">
                  <c:v>80.296766538673552</c:v>
                </c:pt>
                <c:pt idx="885">
                  <c:v>79.775451479394988</c:v>
                </c:pt>
                <c:pt idx="886">
                  <c:v>78.837224511150367</c:v>
                </c:pt>
                <c:pt idx="887">
                  <c:v>78.057587563179098</c:v>
                </c:pt>
                <c:pt idx="888">
                  <c:v>77.689957678186062</c:v>
                </c:pt>
                <c:pt idx="889">
                  <c:v>78.66275213244019</c:v>
                </c:pt>
                <c:pt idx="890">
                  <c:v>78.967553275970005</c:v>
                </c:pt>
                <c:pt idx="891">
                  <c:v>78.491082522865923</c:v>
                </c:pt>
                <c:pt idx="892">
                  <c:v>78.09145435690462</c:v>
                </c:pt>
                <c:pt idx="893">
                  <c:v>77.924456029223549</c:v>
                </c:pt>
                <c:pt idx="894">
                  <c:v>77.804637648663558</c:v>
                </c:pt>
                <c:pt idx="895">
                  <c:v>77.590692937956049</c:v>
                </c:pt>
                <c:pt idx="896">
                  <c:v>78.529387034389984</c:v>
                </c:pt>
                <c:pt idx="897">
                  <c:v>78.635191569270447</c:v>
                </c:pt>
                <c:pt idx="898">
                  <c:v>78.182310789726927</c:v>
                </c:pt>
                <c:pt idx="899">
                  <c:v>77.502639274269654</c:v>
                </c:pt>
                <c:pt idx="900">
                  <c:v>76.473555873202727</c:v>
                </c:pt>
                <c:pt idx="901">
                  <c:v>74.84024215925335</c:v>
                </c:pt>
                <c:pt idx="902">
                  <c:v>74.483589786709274</c:v>
                </c:pt>
                <c:pt idx="903">
                  <c:v>74.6253631921672</c:v>
                </c:pt>
                <c:pt idx="904">
                  <c:v>74.581920270560659</c:v>
                </c:pt>
                <c:pt idx="905">
                  <c:v>75.566159365453075</c:v>
                </c:pt>
                <c:pt idx="906">
                  <c:v>75.774264973794132</c:v>
                </c:pt>
                <c:pt idx="907">
                  <c:v>76.14983603800556</c:v>
                </c:pt>
                <c:pt idx="908">
                  <c:v>76.295112904883368</c:v>
                </c:pt>
                <c:pt idx="909">
                  <c:v>76.651765277427444</c:v>
                </c:pt>
                <c:pt idx="910">
                  <c:v>76.759438325065176</c:v>
                </c:pt>
                <c:pt idx="911">
                  <c:v>77.056765417565899</c:v>
                </c:pt>
                <c:pt idx="912">
                  <c:v>77.62759606491214</c:v>
                </c:pt>
                <c:pt idx="913">
                  <c:v>77.139447107075128</c:v>
                </c:pt>
                <c:pt idx="914">
                  <c:v>77.862094415949628</c:v>
                </c:pt>
                <c:pt idx="915">
                  <c:v>77.690424806375376</c:v>
                </c:pt>
                <c:pt idx="916">
                  <c:v>77.872604800209274</c:v>
                </c:pt>
                <c:pt idx="917">
                  <c:v>77.668469781477441</c:v>
                </c:pt>
                <c:pt idx="918">
                  <c:v>77.793426572119927</c:v>
                </c:pt>
                <c:pt idx="919">
                  <c:v>77.533236170669966</c:v>
                </c:pt>
                <c:pt idx="920">
                  <c:v>77.334940254304598</c:v>
                </c:pt>
                <c:pt idx="921">
                  <c:v>76.496445154479304</c:v>
                </c:pt>
                <c:pt idx="922">
                  <c:v>76.945121780318956</c:v>
                </c:pt>
                <c:pt idx="923">
                  <c:v>77.158365798742494</c:v>
                </c:pt>
                <c:pt idx="924">
                  <c:v>77.507076992068164</c:v>
                </c:pt>
                <c:pt idx="925">
                  <c:v>77.465269019124221</c:v>
                </c:pt>
                <c:pt idx="926">
                  <c:v>77.004914188551624</c:v>
                </c:pt>
                <c:pt idx="927">
                  <c:v>77.237544026831856</c:v>
                </c:pt>
                <c:pt idx="928">
                  <c:v>77.440044096901076</c:v>
                </c:pt>
                <c:pt idx="929">
                  <c:v>77.535805375711206</c:v>
                </c:pt>
                <c:pt idx="930">
                  <c:v>77.759326214299733</c:v>
                </c:pt>
                <c:pt idx="931">
                  <c:v>77.714014779935908</c:v>
                </c:pt>
                <c:pt idx="932">
                  <c:v>77.736670497117828</c:v>
                </c:pt>
                <c:pt idx="933">
                  <c:v>77.707474985285472</c:v>
                </c:pt>
                <c:pt idx="934">
                  <c:v>77.713314087651938</c:v>
                </c:pt>
                <c:pt idx="935">
                  <c:v>77.018694470136509</c:v>
                </c:pt>
                <c:pt idx="936">
                  <c:v>77.615684296084538</c:v>
                </c:pt>
                <c:pt idx="937">
                  <c:v>78.373833347347187</c:v>
                </c:pt>
                <c:pt idx="938">
                  <c:v>79.192241935031817</c:v>
                </c:pt>
                <c:pt idx="939">
                  <c:v>79.427207414258632</c:v>
                </c:pt>
                <c:pt idx="940">
                  <c:v>79.895503424049636</c:v>
                </c:pt>
                <c:pt idx="941">
                  <c:v>79.933807935573682</c:v>
                </c:pt>
                <c:pt idx="942">
                  <c:v>79.783159094518723</c:v>
                </c:pt>
                <c:pt idx="943">
                  <c:v>79.430243747489186</c:v>
                </c:pt>
                <c:pt idx="944">
                  <c:v>79.548894307575893</c:v>
                </c:pt>
                <c:pt idx="945">
                  <c:v>79.430010183394543</c:v>
                </c:pt>
                <c:pt idx="946">
                  <c:v>80.039145342264845</c:v>
                </c:pt>
                <c:pt idx="947">
                  <c:v>80.339041639806794</c:v>
                </c:pt>
                <c:pt idx="948">
                  <c:v>79.725001634948669</c:v>
                </c:pt>
                <c:pt idx="949">
                  <c:v>79.298747162196264</c:v>
                </c:pt>
                <c:pt idx="950">
                  <c:v>79.435849285761009</c:v>
                </c:pt>
                <c:pt idx="951">
                  <c:v>79.516428898418312</c:v>
                </c:pt>
                <c:pt idx="952">
                  <c:v>79.472051720433129</c:v>
                </c:pt>
                <c:pt idx="953">
                  <c:v>79.452899464671106</c:v>
                </c:pt>
                <c:pt idx="954">
                  <c:v>79.647691919616591</c:v>
                </c:pt>
                <c:pt idx="955">
                  <c:v>78.829750460121275</c:v>
                </c:pt>
                <c:pt idx="956">
                  <c:v>78.143539150013552</c:v>
                </c:pt>
                <c:pt idx="957">
                  <c:v>77.402673841755671</c:v>
                </c:pt>
                <c:pt idx="958">
                  <c:v>76.848426245130199</c:v>
                </c:pt>
                <c:pt idx="959">
                  <c:v>76.785363939572306</c:v>
                </c:pt>
                <c:pt idx="960">
                  <c:v>76.729074992759521</c:v>
                </c:pt>
                <c:pt idx="961">
                  <c:v>77.314620178069276</c:v>
                </c:pt>
                <c:pt idx="962">
                  <c:v>77.116557825798566</c:v>
                </c:pt>
                <c:pt idx="963">
                  <c:v>77.225632258004254</c:v>
                </c:pt>
                <c:pt idx="964">
                  <c:v>77.684352139914253</c:v>
                </c:pt>
                <c:pt idx="965">
                  <c:v>77.620122013883048</c:v>
                </c:pt>
                <c:pt idx="966">
                  <c:v>77.660061474069721</c:v>
                </c:pt>
                <c:pt idx="967">
                  <c:v>77.332838177452658</c:v>
                </c:pt>
                <c:pt idx="968">
                  <c:v>77.309248203892125</c:v>
                </c:pt>
                <c:pt idx="969">
                  <c:v>77.716350420882506</c:v>
                </c:pt>
                <c:pt idx="970">
                  <c:v>77.387725739697501</c:v>
                </c:pt>
                <c:pt idx="971">
                  <c:v>77.710744882610697</c:v>
                </c:pt>
                <c:pt idx="972">
                  <c:v>77.520390145463722</c:v>
                </c:pt>
                <c:pt idx="973">
                  <c:v>76.943253267561701</c:v>
                </c:pt>
                <c:pt idx="974">
                  <c:v>76.901445294617758</c:v>
                </c:pt>
                <c:pt idx="975">
                  <c:v>77.610312321907386</c:v>
                </c:pt>
                <c:pt idx="976">
                  <c:v>78.006670590543465</c:v>
                </c:pt>
                <c:pt idx="977">
                  <c:v>78.560684623074266</c:v>
                </c:pt>
                <c:pt idx="978">
                  <c:v>78.533824752188494</c:v>
                </c:pt>
                <c:pt idx="979">
                  <c:v>78.604127544680821</c:v>
                </c:pt>
                <c:pt idx="980">
                  <c:v>78.971056737389887</c:v>
                </c:pt>
                <c:pt idx="981">
                  <c:v>79.167951269187299</c:v>
                </c:pt>
                <c:pt idx="982">
                  <c:v>79.47532161775834</c:v>
                </c:pt>
                <c:pt idx="983">
                  <c:v>79.385165877220047</c:v>
                </c:pt>
                <c:pt idx="984">
                  <c:v>78.894214150247123</c:v>
                </c:pt>
                <c:pt idx="985">
                  <c:v>78.73982828367761</c:v>
                </c:pt>
                <c:pt idx="986">
                  <c:v>78.35865168119436</c:v>
                </c:pt>
                <c:pt idx="987">
                  <c:v>78.382241654754907</c:v>
                </c:pt>
                <c:pt idx="988">
                  <c:v>77.954352233339876</c:v>
                </c:pt>
                <c:pt idx="989">
                  <c:v>77.964862617599522</c:v>
                </c:pt>
                <c:pt idx="990">
                  <c:v>78.724179489335469</c:v>
                </c:pt>
                <c:pt idx="991">
                  <c:v>78.939058456421634</c:v>
                </c:pt>
                <c:pt idx="992">
                  <c:v>79.211394190793854</c:v>
                </c:pt>
                <c:pt idx="993">
                  <c:v>78.819006511766958</c:v>
                </c:pt>
                <c:pt idx="994">
                  <c:v>78.44156693479826</c:v>
                </c:pt>
                <c:pt idx="995">
                  <c:v>78.334594579444499</c:v>
                </c:pt>
                <c:pt idx="996">
                  <c:v>78.553677700234516</c:v>
                </c:pt>
                <c:pt idx="997">
                  <c:v>77.98214636060429</c:v>
                </c:pt>
                <c:pt idx="998">
                  <c:v>78.364023655371511</c:v>
                </c:pt>
                <c:pt idx="999">
                  <c:v>77.124265440922301</c:v>
                </c:pt>
                <c:pt idx="1000">
                  <c:v>76.172024626998152</c:v>
                </c:pt>
                <c:pt idx="1001">
                  <c:v>74.668338985584427</c:v>
                </c:pt>
                <c:pt idx="1002">
                  <c:v>73.511963152928445</c:v>
                </c:pt>
                <c:pt idx="1003">
                  <c:v>70.530984612797454</c:v>
                </c:pt>
                <c:pt idx="1004">
                  <c:v>71.205517718172231</c:v>
                </c:pt>
                <c:pt idx="1005">
                  <c:v>70.190915290974161</c:v>
                </c:pt>
                <c:pt idx="1006">
                  <c:v>71.501676990199655</c:v>
                </c:pt>
                <c:pt idx="1007">
                  <c:v>72.728822743537293</c:v>
                </c:pt>
                <c:pt idx="1008">
                  <c:v>73.214636060427708</c:v>
                </c:pt>
                <c:pt idx="1009">
                  <c:v>73.13732634509563</c:v>
                </c:pt>
                <c:pt idx="1010">
                  <c:v>73.569653484309171</c:v>
                </c:pt>
                <c:pt idx="1011">
                  <c:v>72.203770658744176</c:v>
                </c:pt>
                <c:pt idx="1012">
                  <c:v>71.003017648102997</c:v>
                </c:pt>
                <c:pt idx="1013">
                  <c:v>71.348458944103442</c:v>
                </c:pt>
                <c:pt idx="1014">
                  <c:v>72.564393620897448</c:v>
                </c:pt>
                <c:pt idx="1015">
                  <c:v>73.133822883675748</c:v>
                </c:pt>
                <c:pt idx="1016">
                  <c:v>72.635163541579089</c:v>
                </c:pt>
                <c:pt idx="1017">
                  <c:v>72.378476601548996</c:v>
                </c:pt>
                <c:pt idx="1018">
                  <c:v>72.896054635313035</c:v>
                </c:pt>
                <c:pt idx="1019">
                  <c:v>73.695544531330299</c:v>
                </c:pt>
                <c:pt idx="1020">
                  <c:v>74.880181619440009</c:v>
                </c:pt>
                <c:pt idx="1021">
                  <c:v>75.365994936330438</c:v>
                </c:pt>
                <c:pt idx="1022">
                  <c:v>74.50437699113391</c:v>
                </c:pt>
                <c:pt idx="1023">
                  <c:v>73.517568691200239</c:v>
                </c:pt>
                <c:pt idx="1024">
                  <c:v>73.348935414856555</c:v>
                </c:pt>
                <c:pt idx="1025">
                  <c:v>74.690994702766346</c:v>
                </c:pt>
                <c:pt idx="1026">
                  <c:v>75.087586535497081</c:v>
                </c:pt>
                <c:pt idx="1027">
                  <c:v>74.815484365219504</c:v>
                </c:pt>
                <c:pt idx="1028">
                  <c:v>74.21779384698749</c:v>
                </c:pt>
                <c:pt idx="1029">
                  <c:v>74.3614357652027</c:v>
                </c:pt>
                <c:pt idx="1030">
                  <c:v>74.581453142371331</c:v>
                </c:pt>
                <c:pt idx="1031">
                  <c:v>75.033633229630894</c:v>
                </c:pt>
                <c:pt idx="1032">
                  <c:v>75.774264973794132</c:v>
                </c:pt>
                <c:pt idx="1033">
                  <c:v>75.255285555462137</c:v>
                </c:pt>
                <c:pt idx="1034">
                  <c:v>75.586479441688397</c:v>
                </c:pt>
                <c:pt idx="1035">
                  <c:v>74.666236908732515</c:v>
                </c:pt>
                <c:pt idx="1036">
                  <c:v>73.27372777637639</c:v>
                </c:pt>
                <c:pt idx="1037">
                  <c:v>73.150873062585845</c:v>
                </c:pt>
                <c:pt idx="1038">
                  <c:v>73.966478881134563</c:v>
                </c:pt>
                <c:pt idx="1039">
                  <c:v>75.187318403916407</c:v>
                </c:pt>
                <c:pt idx="1040">
                  <c:v>74.550622681876362</c:v>
                </c:pt>
                <c:pt idx="1041">
                  <c:v>74.750553546904342</c:v>
                </c:pt>
                <c:pt idx="1042">
                  <c:v>75.062828741463235</c:v>
                </c:pt>
                <c:pt idx="1043">
                  <c:v>74.259368255836776</c:v>
                </c:pt>
                <c:pt idx="1044">
                  <c:v>73.47319151321507</c:v>
                </c:pt>
                <c:pt idx="1045">
                  <c:v>74.34275063762999</c:v>
                </c:pt>
                <c:pt idx="1046">
                  <c:v>75.422517447237865</c:v>
                </c:pt>
                <c:pt idx="1047">
                  <c:v>75.80299335743716</c:v>
                </c:pt>
                <c:pt idx="1048">
                  <c:v>76.238590393975926</c:v>
                </c:pt>
                <c:pt idx="1049">
                  <c:v>76.034922503433393</c:v>
                </c:pt>
                <c:pt idx="1050">
                  <c:v>76.053374066911445</c:v>
                </c:pt>
                <c:pt idx="1051">
                  <c:v>76.11550211609071</c:v>
                </c:pt>
                <c:pt idx="1052">
                  <c:v>76.016938068144668</c:v>
                </c:pt>
                <c:pt idx="1053">
                  <c:v>76.227379317432295</c:v>
                </c:pt>
                <c:pt idx="1054">
                  <c:v>76.063183758887121</c:v>
                </c:pt>
                <c:pt idx="1055">
                  <c:v>76.212197651279482</c:v>
                </c:pt>
                <c:pt idx="1056">
                  <c:v>75.853676765978122</c:v>
                </c:pt>
                <c:pt idx="1057">
                  <c:v>76.217569625456619</c:v>
                </c:pt>
                <c:pt idx="1058">
                  <c:v>76.80918747722751</c:v>
                </c:pt>
                <c:pt idx="1059">
                  <c:v>76.013668170819443</c:v>
                </c:pt>
                <c:pt idx="1060">
                  <c:v>76.526574922690287</c:v>
                </c:pt>
                <c:pt idx="1061">
                  <c:v>77.376981791343198</c:v>
                </c:pt>
                <c:pt idx="1062">
                  <c:v>77.145286209441593</c:v>
                </c:pt>
                <c:pt idx="1063">
                  <c:v>76.830675373936117</c:v>
                </c:pt>
                <c:pt idx="1064">
                  <c:v>75.710268411857584</c:v>
                </c:pt>
                <c:pt idx="1065">
                  <c:v>75.767958743238324</c:v>
                </c:pt>
                <c:pt idx="1066">
                  <c:v>76.890467782168798</c:v>
                </c:pt>
                <c:pt idx="1067">
                  <c:v>76.594775638330674</c:v>
                </c:pt>
                <c:pt idx="1068">
                  <c:v>76.67909227650253</c:v>
                </c:pt>
                <c:pt idx="1069">
                  <c:v>76.817829348729887</c:v>
                </c:pt>
                <c:pt idx="1070">
                  <c:v>76.602950381643737</c:v>
                </c:pt>
                <c:pt idx="1071">
                  <c:v>76.442491848613102</c:v>
                </c:pt>
                <c:pt idx="1072">
                  <c:v>77.192232592468031</c:v>
                </c:pt>
                <c:pt idx="1073">
                  <c:v>77.043685828265012</c:v>
                </c:pt>
                <c:pt idx="1074">
                  <c:v>77.282855461195666</c:v>
                </c:pt>
                <c:pt idx="1075">
                  <c:v>76.810588861795452</c:v>
                </c:pt>
                <c:pt idx="1076">
                  <c:v>76.25984472658989</c:v>
                </c:pt>
                <c:pt idx="1077">
                  <c:v>75.871194073077547</c:v>
                </c:pt>
                <c:pt idx="1078">
                  <c:v>74.684221344021239</c:v>
                </c:pt>
                <c:pt idx="1079">
                  <c:v>74.32593402281455</c:v>
                </c:pt>
                <c:pt idx="1080">
                  <c:v>73.639956276801485</c:v>
                </c:pt>
                <c:pt idx="1081">
                  <c:v>73.623139661986045</c:v>
                </c:pt>
                <c:pt idx="1082">
                  <c:v>73.976755701299552</c:v>
                </c:pt>
                <c:pt idx="1083">
                  <c:v>75.322552014723883</c:v>
                </c:pt>
                <c:pt idx="1084">
                  <c:v>76.128581705391596</c:v>
                </c:pt>
                <c:pt idx="1085">
                  <c:v>77.758859086110419</c:v>
                </c:pt>
                <c:pt idx="1086">
                  <c:v>77.740407522632367</c:v>
                </c:pt>
                <c:pt idx="1087">
                  <c:v>77.938236310808421</c:v>
                </c:pt>
                <c:pt idx="1088">
                  <c:v>78.34837486102937</c:v>
                </c:pt>
                <c:pt idx="1089">
                  <c:v>78.318011528723716</c:v>
                </c:pt>
                <c:pt idx="1090">
                  <c:v>78.377103244672412</c:v>
                </c:pt>
                <c:pt idx="1091">
                  <c:v>77.814213776544563</c:v>
                </c:pt>
                <c:pt idx="1092">
                  <c:v>77.791791623457314</c:v>
                </c:pt>
                <c:pt idx="1093">
                  <c:v>77.853452544447251</c:v>
                </c:pt>
                <c:pt idx="1094">
                  <c:v>78.34837486102937</c:v>
                </c:pt>
                <c:pt idx="1095">
                  <c:v>78.019283051655037</c:v>
                </c:pt>
                <c:pt idx="1096">
                  <c:v>78.278539196726371</c:v>
                </c:pt>
                <c:pt idx="1097">
                  <c:v>78.194456122649186</c:v>
                </c:pt>
                <c:pt idx="1098">
                  <c:v>77.777544213683143</c:v>
                </c:pt>
                <c:pt idx="1099">
                  <c:v>78.46282126741221</c:v>
                </c:pt>
                <c:pt idx="1100">
                  <c:v>79.174491063837749</c:v>
                </c:pt>
                <c:pt idx="1101">
                  <c:v>79.33448246867907</c:v>
                </c:pt>
                <c:pt idx="1102">
                  <c:v>80.083055392060686</c:v>
                </c:pt>
                <c:pt idx="1103">
                  <c:v>80.068340854097201</c:v>
                </c:pt>
                <c:pt idx="1104">
                  <c:v>80.054327008417658</c:v>
                </c:pt>
                <c:pt idx="1105">
                  <c:v>80.640339321916727</c:v>
                </c:pt>
                <c:pt idx="1106">
                  <c:v>80.602034810392681</c:v>
                </c:pt>
                <c:pt idx="1107">
                  <c:v>80.802899931799288</c:v>
                </c:pt>
                <c:pt idx="1108">
                  <c:v>81.088315255472423</c:v>
                </c:pt>
                <c:pt idx="1109">
                  <c:v>81.613600904360183</c:v>
                </c:pt>
                <c:pt idx="1110">
                  <c:v>81.348972785111698</c:v>
                </c:pt>
                <c:pt idx="1111">
                  <c:v>81.358548912992717</c:v>
                </c:pt>
                <c:pt idx="1112">
                  <c:v>80.986014182011829</c:v>
                </c:pt>
                <c:pt idx="1113">
                  <c:v>81.713332772779509</c:v>
                </c:pt>
                <c:pt idx="1114">
                  <c:v>81.995945327316733</c:v>
                </c:pt>
                <c:pt idx="1115">
                  <c:v>81.496351728841432</c:v>
                </c:pt>
                <c:pt idx="1116">
                  <c:v>82.046862299952366</c:v>
                </c:pt>
                <c:pt idx="1117">
                  <c:v>82.010192737090932</c:v>
                </c:pt>
                <c:pt idx="1118">
                  <c:v>82.42196623597448</c:v>
                </c:pt>
                <c:pt idx="1119">
                  <c:v>81.799050795519307</c:v>
                </c:pt>
                <c:pt idx="1120">
                  <c:v>81.577164905593406</c:v>
                </c:pt>
                <c:pt idx="1121">
                  <c:v>81.580201238823975</c:v>
                </c:pt>
                <c:pt idx="1122">
                  <c:v>81.146706279137135</c:v>
                </c:pt>
                <c:pt idx="1123">
                  <c:v>81.009137027383062</c:v>
                </c:pt>
                <c:pt idx="1124">
                  <c:v>81.456178704560116</c:v>
                </c:pt>
                <c:pt idx="1125">
                  <c:v>81.095322178312173</c:v>
                </c:pt>
                <c:pt idx="1126">
                  <c:v>80.819716546614742</c:v>
                </c:pt>
                <c:pt idx="1127">
                  <c:v>80.620486373870719</c:v>
                </c:pt>
                <c:pt idx="1128">
                  <c:v>81.028289283145099</c:v>
                </c:pt>
                <c:pt idx="1129">
                  <c:v>81.173099021833579</c:v>
                </c:pt>
                <c:pt idx="1130">
                  <c:v>81.328185580687062</c:v>
                </c:pt>
                <c:pt idx="1131">
                  <c:v>82.066481683903703</c:v>
                </c:pt>
                <c:pt idx="1132">
                  <c:v>82.1386529891533</c:v>
                </c:pt>
                <c:pt idx="1133">
                  <c:v>81.461550678737268</c:v>
                </c:pt>
                <c:pt idx="1134">
                  <c:v>81.347337836449086</c:v>
                </c:pt>
                <c:pt idx="1135">
                  <c:v>81.435625064230138</c:v>
                </c:pt>
                <c:pt idx="1136">
                  <c:v>81.237095583770113</c:v>
                </c:pt>
                <c:pt idx="1137">
                  <c:v>81.525313676579131</c:v>
                </c:pt>
                <c:pt idx="1138">
                  <c:v>81.632052467838236</c:v>
                </c:pt>
                <c:pt idx="1139">
                  <c:v>82.228575165596951</c:v>
                </c:pt>
                <c:pt idx="1140">
                  <c:v>82.234180703868759</c:v>
                </c:pt>
                <c:pt idx="1141">
                  <c:v>82.300045778562563</c:v>
                </c:pt>
                <c:pt idx="1142">
                  <c:v>82.223203191419785</c:v>
                </c:pt>
                <c:pt idx="1143">
                  <c:v>81.995011070938091</c:v>
                </c:pt>
                <c:pt idx="1144">
                  <c:v>81.7497687715463</c:v>
                </c:pt>
                <c:pt idx="1145">
                  <c:v>81.41203509066959</c:v>
                </c:pt>
                <c:pt idx="1146">
                  <c:v>81.087380999093767</c:v>
                </c:pt>
                <c:pt idx="1147">
                  <c:v>81.367190784495079</c:v>
                </c:pt>
                <c:pt idx="1148">
                  <c:v>81.454777319992161</c:v>
                </c:pt>
                <c:pt idx="1149">
                  <c:v>81.989639096760939</c:v>
                </c:pt>
                <c:pt idx="1150">
                  <c:v>82.401179031549844</c:v>
                </c:pt>
                <c:pt idx="1151">
                  <c:v>82.929267449573516</c:v>
                </c:pt>
                <c:pt idx="1152">
                  <c:v>82.672113381354123</c:v>
                </c:pt>
                <c:pt idx="1153">
                  <c:v>82.012528378037501</c:v>
                </c:pt>
                <c:pt idx="1154">
                  <c:v>81.969786148714945</c:v>
                </c:pt>
                <c:pt idx="1155">
                  <c:v>82.068350196660973</c:v>
                </c:pt>
                <c:pt idx="1156">
                  <c:v>83.012883395461387</c:v>
                </c:pt>
                <c:pt idx="1157">
                  <c:v>82.923661911301721</c:v>
                </c:pt>
                <c:pt idx="1158">
                  <c:v>84.070461616076699</c:v>
                </c:pt>
                <c:pt idx="1159">
                  <c:v>84.386473836150117</c:v>
                </c:pt>
                <c:pt idx="1160">
                  <c:v>84.342096658164948</c:v>
                </c:pt>
                <c:pt idx="1161">
                  <c:v>83.932191672038641</c:v>
                </c:pt>
                <c:pt idx="1162">
                  <c:v>83.653082578921328</c:v>
                </c:pt>
                <c:pt idx="1163">
                  <c:v>83.407373151340209</c:v>
                </c:pt>
                <c:pt idx="1164">
                  <c:v>83.437269355456536</c:v>
                </c:pt>
                <c:pt idx="1165">
                  <c:v>82.928099629100231</c:v>
                </c:pt>
                <c:pt idx="1166">
                  <c:v>82.846819324158943</c:v>
                </c:pt>
                <c:pt idx="1167">
                  <c:v>83.11238169978607</c:v>
                </c:pt>
                <c:pt idx="1168">
                  <c:v>83.281248540224411</c:v>
                </c:pt>
                <c:pt idx="1169">
                  <c:v>82.885357399777646</c:v>
                </c:pt>
                <c:pt idx="1170">
                  <c:v>82.486429926100328</c:v>
                </c:pt>
                <c:pt idx="1171">
                  <c:v>82.648289843698919</c:v>
                </c:pt>
                <c:pt idx="1172">
                  <c:v>83.152788288162043</c:v>
                </c:pt>
                <c:pt idx="1173">
                  <c:v>82.630772536599508</c:v>
                </c:pt>
                <c:pt idx="1174">
                  <c:v>82.524033745340404</c:v>
                </c:pt>
                <c:pt idx="1175">
                  <c:v>82.575651410260008</c:v>
                </c:pt>
                <c:pt idx="1176">
                  <c:v>81.283107710417895</c:v>
                </c:pt>
                <c:pt idx="1177">
                  <c:v>81.426983192727761</c:v>
                </c:pt>
                <c:pt idx="1178">
                  <c:v>81.767519642740368</c:v>
                </c:pt>
                <c:pt idx="1179">
                  <c:v>81.618505750348021</c:v>
                </c:pt>
                <c:pt idx="1180">
                  <c:v>81.721040387903258</c:v>
                </c:pt>
                <c:pt idx="1181">
                  <c:v>82.27902501004327</c:v>
                </c:pt>
                <c:pt idx="1182">
                  <c:v>82.125339835757742</c:v>
                </c:pt>
                <c:pt idx="1183">
                  <c:v>81.794379513626154</c:v>
                </c:pt>
                <c:pt idx="1184">
                  <c:v>82.102450554481166</c:v>
                </c:pt>
                <c:pt idx="1185">
                  <c:v>81.605893289236448</c:v>
                </c:pt>
                <c:pt idx="1186">
                  <c:v>82.153133963022142</c:v>
                </c:pt>
                <c:pt idx="1187">
                  <c:v>82.630071844315523</c:v>
                </c:pt>
                <c:pt idx="1188">
                  <c:v>82.620729280529176</c:v>
                </c:pt>
                <c:pt idx="1189">
                  <c:v>83.019423190111837</c:v>
                </c:pt>
                <c:pt idx="1190">
                  <c:v>83.117753673963222</c:v>
                </c:pt>
                <c:pt idx="1191">
                  <c:v>83.372572101236031</c:v>
                </c:pt>
                <c:pt idx="1192">
                  <c:v>83.558021992395155</c:v>
                </c:pt>
                <c:pt idx="1193">
                  <c:v>83.331931948765387</c:v>
                </c:pt>
                <c:pt idx="1194">
                  <c:v>82.89610134813195</c:v>
                </c:pt>
                <c:pt idx="1195">
                  <c:v>82.945850500294299</c:v>
                </c:pt>
                <c:pt idx="1196">
                  <c:v>83.035772676737949</c:v>
                </c:pt>
                <c:pt idx="1197">
                  <c:v>82.847987144632242</c:v>
                </c:pt>
                <c:pt idx="1198">
                  <c:v>83.19763259433654</c:v>
                </c:pt>
                <c:pt idx="1199">
                  <c:v>83.114016648448683</c:v>
                </c:pt>
                <c:pt idx="1200">
                  <c:v>82.776282967571973</c:v>
                </c:pt>
                <c:pt idx="1201">
                  <c:v>82.563739641432406</c:v>
                </c:pt>
                <c:pt idx="1202">
                  <c:v>82.007389967955007</c:v>
                </c:pt>
                <c:pt idx="1203">
                  <c:v>81.736689182245399</c:v>
                </c:pt>
                <c:pt idx="1204">
                  <c:v>81.017778898885453</c:v>
                </c:pt>
                <c:pt idx="1205">
                  <c:v>80.900529723366688</c:v>
                </c:pt>
                <c:pt idx="1206">
                  <c:v>81.76845389911901</c:v>
                </c:pt>
                <c:pt idx="1207">
                  <c:v>81.432588730999569</c:v>
                </c:pt>
                <c:pt idx="1208">
                  <c:v>81.834085409718142</c:v>
                </c:pt>
                <c:pt idx="1209">
                  <c:v>82.193540551398129</c:v>
                </c:pt>
                <c:pt idx="1210">
                  <c:v>82.253332959630782</c:v>
                </c:pt>
                <c:pt idx="1211">
                  <c:v>82.505115053673038</c:v>
                </c:pt>
                <c:pt idx="1212">
                  <c:v>82.260339882470561</c:v>
                </c:pt>
                <c:pt idx="1213">
                  <c:v>82.498108130833273</c:v>
                </c:pt>
                <c:pt idx="1214">
                  <c:v>81.575763521025451</c:v>
                </c:pt>
                <c:pt idx="1215">
                  <c:v>80.683548679428611</c:v>
                </c:pt>
                <c:pt idx="1216">
                  <c:v>81.174733970496192</c:v>
                </c:pt>
                <c:pt idx="1217">
                  <c:v>82.50675000233565</c:v>
                </c:pt>
                <c:pt idx="1218">
                  <c:v>82.72536599493634</c:v>
                </c:pt>
                <c:pt idx="1219">
                  <c:v>82.916421424367286</c:v>
                </c:pt>
                <c:pt idx="1220">
                  <c:v>82.80244214617376</c:v>
                </c:pt>
                <c:pt idx="1221">
                  <c:v>83.379111895886481</c:v>
                </c:pt>
                <c:pt idx="1222">
                  <c:v>82.845651503685644</c:v>
                </c:pt>
                <c:pt idx="1223">
                  <c:v>83.072442239599397</c:v>
                </c:pt>
                <c:pt idx="1224">
                  <c:v>83.643740015134966</c:v>
                </c:pt>
                <c:pt idx="1225">
                  <c:v>84.068125975130101</c:v>
                </c:pt>
                <c:pt idx="1226">
                  <c:v>84.354475555181864</c:v>
                </c:pt>
                <c:pt idx="1227">
                  <c:v>84.579631342433004</c:v>
                </c:pt>
                <c:pt idx="1228">
                  <c:v>84.306828479871456</c:v>
                </c:pt>
                <c:pt idx="1229">
                  <c:v>84.526378728850787</c:v>
                </c:pt>
                <c:pt idx="1230">
                  <c:v>84.082840513093601</c:v>
                </c:pt>
                <c:pt idx="1231">
                  <c:v>84.357979016601746</c:v>
                </c:pt>
                <c:pt idx="1232">
                  <c:v>85.264674832067428</c:v>
                </c:pt>
                <c:pt idx="1233">
                  <c:v>85.501275259956842</c:v>
                </c:pt>
                <c:pt idx="1234">
                  <c:v>85.764735558732042</c:v>
                </c:pt>
                <c:pt idx="1235">
                  <c:v>86.916440109494857</c:v>
                </c:pt>
                <c:pt idx="1236">
                  <c:v>87.261881405495302</c:v>
                </c:pt>
                <c:pt idx="1237">
                  <c:v>87.705419621252474</c:v>
                </c:pt>
                <c:pt idx="1238">
                  <c:v>87.997141175481389</c:v>
                </c:pt>
                <c:pt idx="1239">
                  <c:v>88.038482020236003</c:v>
                </c:pt>
                <c:pt idx="1240">
                  <c:v>87.770350439567636</c:v>
                </c:pt>
                <c:pt idx="1241">
                  <c:v>88.141717350075226</c:v>
                </c:pt>
                <c:pt idx="1242">
                  <c:v>88.638274615319943</c:v>
                </c:pt>
                <c:pt idx="1243">
                  <c:v>88.13003914534228</c:v>
                </c:pt>
                <c:pt idx="1244">
                  <c:v>89.101665779123124</c:v>
                </c:pt>
                <c:pt idx="1245">
                  <c:v>89.463923689939008</c:v>
                </c:pt>
                <c:pt idx="1246">
                  <c:v>89.861449779048371</c:v>
                </c:pt>
                <c:pt idx="1247">
                  <c:v>90.13705541074583</c:v>
                </c:pt>
                <c:pt idx="1248">
                  <c:v>90.89146743649394</c:v>
                </c:pt>
                <c:pt idx="1249">
                  <c:v>90.456804656333802</c:v>
                </c:pt>
                <c:pt idx="1250">
                  <c:v>89.29529041359531</c:v>
                </c:pt>
                <c:pt idx="1251">
                  <c:v>89.050515242392819</c:v>
                </c:pt>
                <c:pt idx="1252">
                  <c:v>88.791025533226843</c:v>
                </c:pt>
                <c:pt idx="1253">
                  <c:v>89.366761026560908</c:v>
                </c:pt>
                <c:pt idx="1254">
                  <c:v>89.905826957033568</c:v>
                </c:pt>
                <c:pt idx="1255">
                  <c:v>91.200706297822251</c:v>
                </c:pt>
                <c:pt idx="1256">
                  <c:v>90.626372189056141</c:v>
                </c:pt>
                <c:pt idx="1257">
                  <c:v>90.806216541943456</c:v>
                </c:pt>
                <c:pt idx="1258">
                  <c:v>90.708820314470699</c:v>
                </c:pt>
                <c:pt idx="1259">
                  <c:v>90.814391285256505</c:v>
                </c:pt>
                <c:pt idx="1260">
                  <c:v>90.780057363341655</c:v>
                </c:pt>
                <c:pt idx="1261">
                  <c:v>90.953361921578534</c:v>
                </c:pt>
                <c:pt idx="1262">
                  <c:v>91.227099040518709</c:v>
                </c:pt>
                <c:pt idx="1263">
                  <c:v>91.540074927361573</c:v>
                </c:pt>
                <c:pt idx="1264">
                  <c:v>91.531666619953853</c:v>
                </c:pt>
                <c:pt idx="1265">
                  <c:v>91.245083475807448</c:v>
                </c:pt>
                <c:pt idx="1266">
                  <c:v>91.740239356484224</c:v>
                </c:pt>
                <c:pt idx="1267">
                  <c:v>91.771069816979178</c:v>
                </c:pt>
                <c:pt idx="1268">
                  <c:v>91.605940002055377</c:v>
                </c:pt>
                <c:pt idx="1269">
                  <c:v>92.120014574399505</c:v>
                </c:pt>
                <c:pt idx="1270">
                  <c:v>91.863561198464097</c:v>
                </c:pt>
                <c:pt idx="1271">
                  <c:v>91.125265095247457</c:v>
                </c:pt>
                <c:pt idx="1272">
                  <c:v>90.624737240393515</c:v>
                </c:pt>
                <c:pt idx="1273">
                  <c:v>90.044797593355568</c:v>
                </c:pt>
                <c:pt idx="1274">
                  <c:v>90.520567654175665</c:v>
                </c:pt>
                <c:pt idx="1275">
                  <c:v>90.69200369965526</c:v>
                </c:pt>
                <c:pt idx="1276">
                  <c:v>90.307557199846784</c:v>
                </c:pt>
                <c:pt idx="1277">
                  <c:v>90.434849631435867</c:v>
                </c:pt>
                <c:pt idx="1278">
                  <c:v>90.120939488214376</c:v>
                </c:pt>
                <c:pt idx="1279">
                  <c:v>89.895783700963221</c:v>
                </c:pt>
                <c:pt idx="1280">
                  <c:v>90.19894989583041</c:v>
                </c:pt>
                <c:pt idx="1281">
                  <c:v>90.022375440268334</c:v>
                </c:pt>
                <c:pt idx="1282">
                  <c:v>89.695852835935241</c:v>
                </c:pt>
                <c:pt idx="1283">
                  <c:v>90.637116137410445</c:v>
                </c:pt>
                <c:pt idx="1284">
                  <c:v>90.283967226286251</c:v>
                </c:pt>
                <c:pt idx="1285">
                  <c:v>90.259910124536376</c:v>
                </c:pt>
                <c:pt idx="1286">
                  <c:v>90.296579687397823</c:v>
                </c:pt>
                <c:pt idx="1287">
                  <c:v>90.520801218270336</c:v>
                </c:pt>
                <c:pt idx="1288">
                  <c:v>90.543223371357584</c:v>
                </c:pt>
                <c:pt idx="1289">
                  <c:v>90.115100385847896</c:v>
                </c:pt>
                <c:pt idx="1290">
                  <c:v>89.749572577706786</c:v>
                </c:pt>
                <c:pt idx="1291">
                  <c:v>89.682306118445027</c:v>
                </c:pt>
                <c:pt idx="1292">
                  <c:v>90.030083055392069</c:v>
                </c:pt>
                <c:pt idx="1293">
                  <c:v>90.609088446051373</c:v>
                </c:pt>
                <c:pt idx="1294">
                  <c:v>90.679391238543701</c:v>
                </c:pt>
                <c:pt idx="1295">
                  <c:v>90.960835972607612</c:v>
                </c:pt>
                <c:pt idx="1296">
                  <c:v>90.883292693180877</c:v>
                </c:pt>
                <c:pt idx="1297">
                  <c:v>90.541821986789628</c:v>
                </c:pt>
                <c:pt idx="1298">
                  <c:v>90.745022749142834</c:v>
                </c:pt>
                <c:pt idx="1299">
                  <c:v>90.351934377831981</c:v>
                </c:pt>
                <c:pt idx="1300">
                  <c:v>90.260844380915017</c:v>
                </c:pt>
                <c:pt idx="1301">
                  <c:v>90.422003606229623</c:v>
                </c:pt>
                <c:pt idx="1302">
                  <c:v>90.692237263749917</c:v>
                </c:pt>
                <c:pt idx="1303">
                  <c:v>90.460074553659027</c:v>
                </c:pt>
                <c:pt idx="1304">
                  <c:v>90.622401599446931</c:v>
                </c:pt>
                <c:pt idx="1305">
                  <c:v>90.632444855517264</c:v>
                </c:pt>
                <c:pt idx="1306">
                  <c:v>90.592271831235934</c:v>
                </c:pt>
                <c:pt idx="1307">
                  <c:v>90.370619505404676</c:v>
                </c:pt>
                <c:pt idx="1308">
                  <c:v>90.189140203854748</c:v>
                </c:pt>
                <c:pt idx="1309">
                  <c:v>89.881769855283693</c:v>
                </c:pt>
                <c:pt idx="1310">
                  <c:v>90.257574483589792</c:v>
                </c:pt>
                <c:pt idx="1311">
                  <c:v>90.551398114670633</c:v>
                </c:pt>
                <c:pt idx="1312">
                  <c:v>90.719564262825017</c:v>
                </c:pt>
                <c:pt idx="1313">
                  <c:v>90.944019357792172</c:v>
                </c:pt>
                <c:pt idx="1314">
                  <c:v>90.585264908396169</c:v>
                </c:pt>
                <c:pt idx="1315">
                  <c:v>90.071190336052027</c:v>
                </c:pt>
                <c:pt idx="1316">
                  <c:v>89.826181600754879</c:v>
                </c:pt>
                <c:pt idx="1317">
                  <c:v>89.787643525136176</c:v>
                </c:pt>
                <c:pt idx="1318">
                  <c:v>90.152470640993315</c:v>
                </c:pt>
                <c:pt idx="1319">
                  <c:v>90.316899763633145</c:v>
                </c:pt>
                <c:pt idx="1320">
                  <c:v>89.977531134093823</c:v>
                </c:pt>
                <c:pt idx="1321">
                  <c:v>89.755178115978595</c:v>
                </c:pt>
                <c:pt idx="1322">
                  <c:v>89.959780262899756</c:v>
                </c:pt>
                <c:pt idx="1323">
                  <c:v>90.305455122994857</c:v>
                </c:pt>
                <c:pt idx="1324">
                  <c:v>90.250100432560714</c:v>
                </c:pt>
                <c:pt idx="1325">
                  <c:v>90.194745742126571</c:v>
                </c:pt>
                <c:pt idx="1326">
                  <c:v>90.414529555200545</c:v>
                </c:pt>
                <c:pt idx="1327">
                  <c:v>89.807730037276841</c:v>
                </c:pt>
                <c:pt idx="1328">
                  <c:v>89.415575922344615</c:v>
                </c:pt>
                <c:pt idx="1329">
                  <c:v>89.111942599288113</c:v>
                </c:pt>
                <c:pt idx="1330">
                  <c:v>88.995861244242661</c:v>
                </c:pt>
                <c:pt idx="1331">
                  <c:v>88.568906079206272</c:v>
                </c:pt>
                <c:pt idx="1332">
                  <c:v>87.93851658772202</c:v>
                </c:pt>
                <c:pt idx="1333">
                  <c:v>86.947737698179154</c:v>
                </c:pt>
                <c:pt idx="1334">
                  <c:v>87.056345002195513</c:v>
                </c:pt>
                <c:pt idx="1335">
                  <c:v>87.562945523510564</c:v>
                </c:pt>
                <c:pt idx="1336">
                  <c:v>87.62600782906847</c:v>
                </c:pt>
                <c:pt idx="1337">
                  <c:v>87.791371208086929</c:v>
                </c:pt>
                <c:pt idx="1338">
                  <c:v>87.929874716219629</c:v>
                </c:pt>
                <c:pt idx="1339">
                  <c:v>88.158300400795994</c:v>
                </c:pt>
                <c:pt idx="1340">
                  <c:v>88.179554733409944</c:v>
                </c:pt>
                <c:pt idx="1341">
                  <c:v>88.219961321785931</c:v>
                </c:pt>
                <c:pt idx="1342">
                  <c:v>88.668404383530941</c:v>
                </c:pt>
                <c:pt idx="1343">
                  <c:v>89.127124265440926</c:v>
                </c:pt>
                <c:pt idx="1344">
                  <c:v>89.147444341676248</c:v>
                </c:pt>
                <c:pt idx="1345">
                  <c:v>88.853620710595422</c:v>
                </c:pt>
                <c:pt idx="1346">
                  <c:v>88.661631024785834</c:v>
                </c:pt>
                <c:pt idx="1347">
                  <c:v>89.188318058241549</c:v>
                </c:pt>
                <c:pt idx="1348">
                  <c:v>89.714304399413294</c:v>
                </c:pt>
                <c:pt idx="1349">
                  <c:v>90.217167895213805</c:v>
                </c:pt>
                <c:pt idx="1350">
                  <c:v>90.489503629586039</c:v>
                </c:pt>
                <c:pt idx="1351">
                  <c:v>90.344927454992202</c:v>
                </c:pt>
                <c:pt idx="1352">
                  <c:v>90.328811532460733</c:v>
                </c:pt>
                <c:pt idx="1353">
                  <c:v>89.955108981006575</c:v>
                </c:pt>
                <c:pt idx="1354">
                  <c:v>89.789979166082773</c:v>
                </c:pt>
                <c:pt idx="1355">
                  <c:v>89.630688453525423</c:v>
                </c:pt>
                <c:pt idx="1356">
                  <c:v>89.70986668161477</c:v>
                </c:pt>
                <c:pt idx="1357">
                  <c:v>89.518344123994524</c:v>
                </c:pt>
                <c:pt idx="1358">
                  <c:v>89.906994777506853</c:v>
                </c:pt>
                <c:pt idx="1359">
                  <c:v>89.913534572157303</c:v>
                </c:pt>
                <c:pt idx="1360">
                  <c:v>89.680437605687771</c:v>
                </c:pt>
                <c:pt idx="1361">
                  <c:v>89.232695236226732</c:v>
                </c:pt>
                <c:pt idx="1362">
                  <c:v>88.923456374898407</c:v>
                </c:pt>
                <c:pt idx="1363">
                  <c:v>89.46485794631765</c:v>
                </c:pt>
                <c:pt idx="1364">
                  <c:v>90.552332371049275</c:v>
                </c:pt>
                <c:pt idx="1365">
                  <c:v>91.409512598447279</c:v>
                </c:pt>
                <c:pt idx="1366">
                  <c:v>91.86963386492522</c:v>
                </c:pt>
                <c:pt idx="1367">
                  <c:v>91.429832674682601</c:v>
                </c:pt>
                <c:pt idx="1368">
                  <c:v>91.258630193297648</c:v>
                </c:pt>
                <c:pt idx="1369">
                  <c:v>91.918215196614256</c:v>
                </c:pt>
                <c:pt idx="1370">
                  <c:v>91.321692498855541</c:v>
                </c:pt>
                <c:pt idx="1371">
                  <c:v>90.538552089464403</c:v>
                </c:pt>
                <c:pt idx="1372">
                  <c:v>90.06254846454965</c:v>
                </c:pt>
                <c:pt idx="1373">
                  <c:v>90.187038127002822</c:v>
                </c:pt>
                <c:pt idx="1374">
                  <c:v>90.351934377831981</c:v>
                </c:pt>
                <c:pt idx="1375">
                  <c:v>90.384399786989562</c:v>
                </c:pt>
                <c:pt idx="1376">
                  <c:v>90.773517568691204</c:v>
                </c:pt>
                <c:pt idx="1377">
                  <c:v>90.906649102646767</c:v>
                </c:pt>
                <c:pt idx="1378">
                  <c:v>91.248353373132673</c:v>
                </c:pt>
                <c:pt idx="1379">
                  <c:v>90.880256359950309</c:v>
                </c:pt>
                <c:pt idx="1380">
                  <c:v>90.563543447592892</c:v>
                </c:pt>
                <c:pt idx="1381">
                  <c:v>90.081700720311673</c:v>
                </c:pt>
                <c:pt idx="1382">
                  <c:v>90.096181694180515</c:v>
                </c:pt>
                <c:pt idx="1383">
                  <c:v>90.652531367657915</c:v>
                </c:pt>
                <c:pt idx="1384">
                  <c:v>90.333015686164615</c:v>
                </c:pt>
                <c:pt idx="1385">
                  <c:v>90.261311509104331</c:v>
                </c:pt>
                <c:pt idx="1386">
                  <c:v>89.780403038201754</c:v>
                </c:pt>
                <c:pt idx="1387">
                  <c:v>89.782271550959024</c:v>
                </c:pt>
                <c:pt idx="1388">
                  <c:v>89.989676467016082</c:v>
                </c:pt>
                <c:pt idx="1389">
                  <c:v>90.267617739660125</c:v>
                </c:pt>
                <c:pt idx="1390">
                  <c:v>91.101675121686895</c:v>
                </c:pt>
                <c:pt idx="1391">
                  <c:v>91.513915748759786</c:v>
                </c:pt>
                <c:pt idx="1392">
                  <c:v>91.294131935685797</c:v>
                </c:pt>
                <c:pt idx="1393">
                  <c:v>91.184590375290796</c:v>
                </c:pt>
                <c:pt idx="1394">
                  <c:v>91.507609518204006</c:v>
                </c:pt>
                <c:pt idx="1395">
                  <c:v>91.934798247335053</c:v>
                </c:pt>
                <c:pt idx="1396">
                  <c:v>91.600568027878225</c:v>
                </c:pt>
                <c:pt idx="1397">
                  <c:v>91.835767071199683</c:v>
                </c:pt>
                <c:pt idx="1398">
                  <c:v>92.678466324728845</c:v>
                </c:pt>
                <c:pt idx="1399">
                  <c:v>92.087782729336581</c:v>
                </c:pt>
                <c:pt idx="1400">
                  <c:v>92.004633911638038</c:v>
                </c:pt>
                <c:pt idx="1401">
                  <c:v>93.063146388631978</c:v>
                </c:pt>
                <c:pt idx="1402">
                  <c:v>92.441398768650103</c:v>
                </c:pt>
                <c:pt idx="1403">
                  <c:v>92.499322664125501</c:v>
                </c:pt>
                <c:pt idx="1404">
                  <c:v>93.084867849435255</c:v>
                </c:pt>
                <c:pt idx="1405">
                  <c:v>93.818959798948043</c:v>
                </c:pt>
                <c:pt idx="1406">
                  <c:v>94.021459869017264</c:v>
                </c:pt>
                <c:pt idx="1407">
                  <c:v>93.826667414071778</c:v>
                </c:pt>
                <c:pt idx="1408">
                  <c:v>94.587385670375667</c:v>
                </c:pt>
                <c:pt idx="1409">
                  <c:v>94.828190251968962</c:v>
                </c:pt>
                <c:pt idx="1410">
                  <c:v>94.381615702981208</c:v>
                </c:pt>
                <c:pt idx="1411">
                  <c:v>95.170361650644182</c:v>
                </c:pt>
                <c:pt idx="1412">
                  <c:v>95.148640189840904</c:v>
                </c:pt>
                <c:pt idx="1413">
                  <c:v>95.345768285732973</c:v>
                </c:pt>
                <c:pt idx="1414">
                  <c:v>95.462083204873096</c:v>
                </c:pt>
                <c:pt idx="1415">
                  <c:v>95.848398217438827</c:v>
                </c:pt>
                <c:pt idx="1416">
                  <c:v>95.554808150452658</c:v>
                </c:pt>
                <c:pt idx="1417">
                  <c:v>95.463017461251738</c:v>
                </c:pt>
                <c:pt idx="1418">
                  <c:v>95.7362874520026</c:v>
                </c:pt>
                <c:pt idx="1419">
                  <c:v>95.702420658277049</c:v>
                </c:pt>
                <c:pt idx="1420">
                  <c:v>95.99180657155938</c:v>
                </c:pt>
                <c:pt idx="1421">
                  <c:v>95.680932761568442</c:v>
                </c:pt>
                <c:pt idx="1422">
                  <c:v>95.972887879892028</c:v>
                </c:pt>
                <c:pt idx="1423">
                  <c:v>96.479021273017736</c:v>
                </c:pt>
                <c:pt idx="1424">
                  <c:v>96.763035212122929</c:v>
                </c:pt>
                <c:pt idx="1425">
                  <c:v>96.762100955744287</c:v>
                </c:pt>
                <c:pt idx="1426">
                  <c:v>97.321486962452255</c:v>
                </c:pt>
                <c:pt idx="1427">
                  <c:v>96.676616497099133</c:v>
                </c:pt>
                <c:pt idx="1428">
                  <c:v>96.472014350177986</c:v>
                </c:pt>
                <c:pt idx="1429">
                  <c:v>95.326849594065607</c:v>
                </c:pt>
                <c:pt idx="1430">
                  <c:v>95.372161028429431</c:v>
                </c:pt>
                <c:pt idx="1431">
                  <c:v>95.745630015788947</c:v>
                </c:pt>
                <c:pt idx="1432">
                  <c:v>96.730102674776006</c:v>
                </c:pt>
                <c:pt idx="1433">
                  <c:v>97.120621841045633</c:v>
                </c:pt>
                <c:pt idx="1434">
                  <c:v>97.098433252053042</c:v>
                </c:pt>
                <c:pt idx="1435">
                  <c:v>96.118631874959135</c:v>
                </c:pt>
                <c:pt idx="1436">
                  <c:v>95.785569475975606</c:v>
                </c:pt>
                <c:pt idx="1437">
                  <c:v>95.65851060848118</c:v>
                </c:pt>
                <c:pt idx="1438">
                  <c:v>95.470725076375459</c:v>
                </c:pt>
                <c:pt idx="1439">
                  <c:v>95.721339349944429</c:v>
                </c:pt>
                <c:pt idx="1440">
                  <c:v>96.223969281650284</c:v>
                </c:pt>
                <c:pt idx="1441">
                  <c:v>97.199566505040323</c:v>
                </c:pt>
                <c:pt idx="1442">
                  <c:v>97.723684333454813</c:v>
                </c:pt>
                <c:pt idx="1443">
                  <c:v>98.287741622055933</c:v>
                </c:pt>
                <c:pt idx="1444">
                  <c:v>98.245232956828033</c:v>
                </c:pt>
                <c:pt idx="1445">
                  <c:v>98.385137849528675</c:v>
                </c:pt>
                <c:pt idx="1446">
                  <c:v>98.114203499724397</c:v>
                </c:pt>
                <c:pt idx="1447">
                  <c:v>97.801227612881533</c:v>
                </c:pt>
                <c:pt idx="1448">
                  <c:v>98.487672487083913</c:v>
                </c:pt>
                <c:pt idx="1449">
                  <c:v>98.690873249437132</c:v>
                </c:pt>
                <c:pt idx="1450">
                  <c:v>98.724039350878684</c:v>
                </c:pt>
                <c:pt idx="1451">
                  <c:v>98.585535842745969</c:v>
                </c:pt>
                <c:pt idx="1452">
                  <c:v>98.640189840896156</c:v>
                </c:pt>
                <c:pt idx="1453">
                  <c:v>98.712127582051082</c:v>
                </c:pt>
                <c:pt idx="1454">
                  <c:v>99.083027364369343</c:v>
                </c:pt>
                <c:pt idx="1455">
                  <c:v>98.894541139979637</c:v>
                </c:pt>
                <c:pt idx="1456">
                  <c:v>99.083027364369343</c:v>
                </c:pt>
                <c:pt idx="1457">
                  <c:v>99.857292338163447</c:v>
                </c:pt>
                <c:pt idx="1458">
                  <c:v>99.381989405532693</c:v>
                </c:pt>
                <c:pt idx="1459">
                  <c:v>99.973140129114242</c:v>
                </c:pt>
                <c:pt idx="1460">
                  <c:v>100.16839971224904</c:v>
                </c:pt>
                <c:pt idx="1461">
                  <c:v>100.05044984444633</c:v>
                </c:pt>
                <c:pt idx="1462">
                  <c:v>99.489428889075754</c:v>
                </c:pt>
                <c:pt idx="1463">
                  <c:v>98.071928398591155</c:v>
                </c:pt>
                <c:pt idx="1464">
                  <c:v>97.771564972859863</c:v>
                </c:pt>
                <c:pt idx="1465">
                  <c:v>97.770630716481222</c:v>
                </c:pt>
                <c:pt idx="1466">
                  <c:v>98.351271055803153</c:v>
                </c:pt>
                <c:pt idx="1467">
                  <c:v>96.568009193082773</c:v>
                </c:pt>
                <c:pt idx="1468">
                  <c:v>96.092472696357362</c:v>
                </c:pt>
                <c:pt idx="1469">
                  <c:v>95.580266636770475</c:v>
                </c:pt>
                <c:pt idx="1470">
                  <c:v>95.089081345702894</c:v>
                </c:pt>
                <c:pt idx="1471">
                  <c:v>95.049375449610892</c:v>
                </c:pt>
                <c:pt idx="1472">
                  <c:v>93.563674243485906</c:v>
                </c:pt>
                <c:pt idx="1473">
                  <c:v>92.66491960723863</c:v>
                </c:pt>
                <c:pt idx="1474">
                  <c:v>93.023674056634633</c:v>
                </c:pt>
                <c:pt idx="1475">
                  <c:v>93.216130870633535</c:v>
                </c:pt>
                <c:pt idx="1476">
                  <c:v>92.176537085306961</c:v>
                </c:pt>
                <c:pt idx="1477">
                  <c:v>91.438474546184977</c:v>
                </c:pt>
                <c:pt idx="1478">
                  <c:v>92.14991077851586</c:v>
                </c:pt>
                <c:pt idx="1479">
                  <c:v>92.306165157842628</c:v>
                </c:pt>
                <c:pt idx="1480">
                  <c:v>92.916001008996901</c:v>
                </c:pt>
                <c:pt idx="1481">
                  <c:v>92.908293393873151</c:v>
                </c:pt>
                <c:pt idx="1482">
                  <c:v>92.339564823378836</c:v>
                </c:pt>
                <c:pt idx="1483">
                  <c:v>90.604417164158207</c:v>
                </c:pt>
                <c:pt idx="1484">
                  <c:v>90.509590141726704</c:v>
                </c:pt>
                <c:pt idx="1485">
                  <c:v>89.633491222661334</c:v>
                </c:pt>
                <c:pt idx="1486">
                  <c:v>90.498145501088416</c:v>
                </c:pt>
                <c:pt idx="1487">
                  <c:v>92.055317320179014</c:v>
                </c:pt>
                <c:pt idx="1488">
                  <c:v>92.73475527154163</c:v>
                </c:pt>
                <c:pt idx="1489">
                  <c:v>92.637592608163544</c:v>
                </c:pt>
                <c:pt idx="1490">
                  <c:v>92.498388407746873</c:v>
                </c:pt>
                <c:pt idx="1491">
                  <c:v>92.504694638302652</c:v>
                </c:pt>
                <c:pt idx="1492">
                  <c:v>92.13169277913245</c:v>
                </c:pt>
                <c:pt idx="1493">
                  <c:v>93.159608359726093</c:v>
                </c:pt>
                <c:pt idx="1494">
                  <c:v>93.113829797172954</c:v>
                </c:pt>
                <c:pt idx="1495">
                  <c:v>93.441520221979317</c:v>
                </c:pt>
                <c:pt idx="1496">
                  <c:v>94.487653801956341</c:v>
                </c:pt>
                <c:pt idx="1497">
                  <c:v>94.498864878499973</c:v>
                </c:pt>
                <c:pt idx="1498">
                  <c:v>94.792221381391499</c:v>
                </c:pt>
                <c:pt idx="1499">
                  <c:v>94.491857955660208</c:v>
                </c:pt>
                <c:pt idx="1500">
                  <c:v>94.773769817913433</c:v>
                </c:pt>
                <c:pt idx="1501">
                  <c:v>94.379280062034638</c:v>
                </c:pt>
                <c:pt idx="1502">
                  <c:v>94.729859768117578</c:v>
                </c:pt>
                <c:pt idx="1503">
                  <c:v>95.238095238095241</c:v>
                </c:pt>
                <c:pt idx="1504">
                  <c:v>95.063155731195764</c:v>
                </c:pt>
                <c:pt idx="1505">
                  <c:v>95.009435989424233</c:v>
                </c:pt>
                <c:pt idx="1506">
                  <c:v>95.092351243028133</c:v>
                </c:pt>
                <c:pt idx="1507">
                  <c:v>94.83099302110486</c:v>
                </c:pt>
                <c:pt idx="1508">
                  <c:v>94.512178031895516</c:v>
                </c:pt>
                <c:pt idx="1509">
                  <c:v>94.596728234162029</c:v>
                </c:pt>
                <c:pt idx="1510">
                  <c:v>94.70556910227306</c:v>
                </c:pt>
                <c:pt idx="1511">
                  <c:v>94.842904789932462</c:v>
                </c:pt>
                <c:pt idx="1512">
                  <c:v>94.086857815521739</c:v>
                </c:pt>
                <c:pt idx="1513">
                  <c:v>94.807636611638983</c:v>
                </c:pt>
                <c:pt idx="1514">
                  <c:v>95.019479245494551</c:v>
                </c:pt>
                <c:pt idx="1515">
                  <c:v>95.250240571017514</c:v>
                </c:pt>
                <c:pt idx="1516">
                  <c:v>94.617048310397351</c:v>
                </c:pt>
                <c:pt idx="1517">
                  <c:v>94.523389108439147</c:v>
                </c:pt>
                <c:pt idx="1518">
                  <c:v>94.662359744761162</c:v>
                </c:pt>
                <c:pt idx="1519">
                  <c:v>94.832160841578144</c:v>
                </c:pt>
                <c:pt idx="1520">
                  <c:v>95.196520829245983</c:v>
                </c:pt>
                <c:pt idx="1521">
                  <c:v>95.800751142128433</c:v>
                </c:pt>
                <c:pt idx="1522">
                  <c:v>95.624176686566344</c:v>
                </c:pt>
                <c:pt idx="1523">
                  <c:v>94.812541457626807</c:v>
                </c:pt>
                <c:pt idx="1524">
                  <c:v>94.568466978708301</c:v>
                </c:pt>
                <c:pt idx="1525">
                  <c:v>93.987826639386398</c:v>
                </c:pt>
                <c:pt idx="1526">
                  <c:v>93.081364388015373</c:v>
                </c:pt>
                <c:pt idx="1527">
                  <c:v>92.848267421545842</c:v>
                </c:pt>
                <c:pt idx="1528">
                  <c:v>93.189504563842419</c:v>
                </c:pt>
                <c:pt idx="1529">
                  <c:v>93.382895634219949</c:v>
                </c:pt>
                <c:pt idx="1530">
                  <c:v>93.404149966833899</c:v>
                </c:pt>
                <c:pt idx="1531">
                  <c:v>92.340732643852135</c:v>
                </c:pt>
                <c:pt idx="1532">
                  <c:v>92.486710203013928</c:v>
                </c:pt>
                <c:pt idx="1533">
                  <c:v>93.172921513121636</c:v>
                </c:pt>
                <c:pt idx="1534">
                  <c:v>92.983968160542631</c:v>
                </c:pt>
                <c:pt idx="1535">
                  <c:v>93.852359464484252</c:v>
                </c:pt>
                <c:pt idx="1536">
                  <c:v>94.005110382391138</c:v>
                </c:pt>
                <c:pt idx="1537">
                  <c:v>94.20410699104049</c:v>
                </c:pt>
                <c:pt idx="1538">
                  <c:v>94.96949652923756</c:v>
                </c:pt>
                <c:pt idx="1539">
                  <c:v>95.321477619888455</c:v>
                </c:pt>
                <c:pt idx="1540">
                  <c:v>95.17596718891599</c:v>
                </c:pt>
                <c:pt idx="1541">
                  <c:v>95.85657296075189</c:v>
                </c:pt>
                <c:pt idx="1542">
                  <c:v>96.068415594607472</c:v>
                </c:pt>
                <c:pt idx="1543">
                  <c:v>96.077758158393848</c:v>
                </c:pt>
                <c:pt idx="1544">
                  <c:v>96.548623373226093</c:v>
                </c:pt>
                <c:pt idx="1545">
                  <c:v>96.905742873959483</c:v>
                </c:pt>
                <c:pt idx="1546">
                  <c:v>97.022758485383576</c:v>
                </c:pt>
                <c:pt idx="1547">
                  <c:v>97.564160056802791</c:v>
                </c:pt>
                <c:pt idx="1548">
                  <c:v>97.428225753711345</c:v>
                </c:pt>
                <c:pt idx="1549">
                  <c:v>96.93447125760251</c:v>
                </c:pt>
                <c:pt idx="1550">
                  <c:v>96.911348412231291</c:v>
                </c:pt>
                <c:pt idx="1551">
                  <c:v>97.2224557863169</c:v>
                </c:pt>
                <c:pt idx="1552">
                  <c:v>97.134168558535833</c:v>
                </c:pt>
                <c:pt idx="1553">
                  <c:v>97.258891785083662</c:v>
                </c:pt>
                <c:pt idx="1554">
                  <c:v>96.841279183833635</c:v>
                </c:pt>
                <c:pt idx="1555">
                  <c:v>96.383727122396934</c:v>
                </c:pt>
                <c:pt idx="1556">
                  <c:v>96.958528359352385</c:v>
                </c:pt>
                <c:pt idx="1557">
                  <c:v>96.397273839887148</c:v>
                </c:pt>
                <c:pt idx="1558">
                  <c:v>95.898147369601176</c:v>
                </c:pt>
                <c:pt idx="1559">
                  <c:v>96.023804852527633</c:v>
                </c:pt>
                <c:pt idx="1560">
                  <c:v>95.775292655810631</c:v>
                </c:pt>
                <c:pt idx="1561">
                  <c:v>95.541027868867786</c:v>
                </c:pt>
                <c:pt idx="1562">
                  <c:v>95.867316909106208</c:v>
                </c:pt>
                <c:pt idx="1563">
                  <c:v>97.196296607715098</c:v>
                </c:pt>
                <c:pt idx="1564">
                  <c:v>97.224090734979512</c:v>
                </c:pt>
                <c:pt idx="1565">
                  <c:v>97.32265478292554</c:v>
                </c:pt>
                <c:pt idx="1566">
                  <c:v>97.899090968543589</c:v>
                </c:pt>
                <c:pt idx="1567">
                  <c:v>98.609125816306531</c:v>
                </c:pt>
                <c:pt idx="1568">
                  <c:v>98.415501181834344</c:v>
                </c:pt>
                <c:pt idx="1569">
                  <c:v>98.703952838738005</c:v>
                </c:pt>
                <c:pt idx="1570">
                  <c:v>99.01529377691827</c:v>
                </c:pt>
                <c:pt idx="1571">
                  <c:v>99.074619056961609</c:v>
                </c:pt>
                <c:pt idx="1572">
                  <c:v>98.386305670001988</c:v>
                </c:pt>
                <c:pt idx="1573">
                  <c:v>98.399385259302861</c:v>
                </c:pt>
                <c:pt idx="1574">
                  <c:v>98.449601539654523</c:v>
                </c:pt>
                <c:pt idx="1575">
                  <c:v>98.723572222689356</c:v>
                </c:pt>
                <c:pt idx="1576">
                  <c:v>99.071582723731041</c:v>
                </c:pt>
                <c:pt idx="1577">
                  <c:v>98.934714164260967</c:v>
                </c:pt>
                <c:pt idx="1578">
                  <c:v>99.648953165727747</c:v>
                </c:pt>
                <c:pt idx="1579">
                  <c:v>99.999766435905357</c:v>
                </c:pt>
                <c:pt idx="1580">
                  <c:v>100.18171286564461</c:v>
                </c:pt>
                <c:pt idx="1581">
                  <c:v>99.854022440838222</c:v>
                </c:pt>
                <c:pt idx="1582">
                  <c:v>100.20483571101582</c:v>
                </c:pt>
                <c:pt idx="1583">
                  <c:v>100.13149658529295</c:v>
                </c:pt>
                <c:pt idx="1584">
                  <c:v>100.22375440268321</c:v>
                </c:pt>
                <c:pt idx="1585">
                  <c:v>99.984117641563202</c:v>
                </c:pt>
                <c:pt idx="1586">
                  <c:v>99.462802582284624</c:v>
                </c:pt>
                <c:pt idx="1587">
                  <c:v>99.434541326830924</c:v>
                </c:pt>
                <c:pt idx="1588">
                  <c:v>99.753356316040268</c:v>
                </c:pt>
                <c:pt idx="1589">
                  <c:v>100.1380363799434</c:v>
                </c:pt>
                <c:pt idx="1590">
                  <c:v>100.2606575296393</c:v>
                </c:pt>
                <c:pt idx="1591">
                  <c:v>99.738875342171411</c:v>
                </c:pt>
                <c:pt idx="1592">
                  <c:v>99.59616768033483</c:v>
                </c:pt>
                <c:pt idx="1593">
                  <c:v>99.399740276726746</c:v>
                </c:pt>
                <c:pt idx="1594">
                  <c:v>99.311219484851037</c:v>
                </c:pt>
                <c:pt idx="1595">
                  <c:v>99.423096686192622</c:v>
                </c:pt>
                <c:pt idx="1596">
                  <c:v>98.784532451395307</c:v>
                </c:pt>
                <c:pt idx="1597">
                  <c:v>98.805319655819957</c:v>
                </c:pt>
                <c:pt idx="1598">
                  <c:v>98.760475349645461</c:v>
                </c:pt>
                <c:pt idx="1599">
                  <c:v>98.802283322589389</c:v>
                </c:pt>
                <c:pt idx="1600">
                  <c:v>98.621271149228775</c:v>
                </c:pt>
                <c:pt idx="1601">
                  <c:v>97.7082691032073</c:v>
                </c:pt>
                <c:pt idx="1602">
                  <c:v>97.36983473004662</c:v>
                </c:pt>
                <c:pt idx="1603">
                  <c:v>96.105318721563577</c:v>
                </c:pt>
                <c:pt idx="1604">
                  <c:v>96.413389762418618</c:v>
                </c:pt>
                <c:pt idx="1605">
                  <c:v>96.408017788241452</c:v>
                </c:pt>
                <c:pt idx="1606">
                  <c:v>95.909358446144793</c:v>
                </c:pt>
                <c:pt idx="1607">
                  <c:v>94.931659145902827</c:v>
                </c:pt>
                <c:pt idx="1608">
                  <c:v>94.408709137961651</c:v>
                </c:pt>
                <c:pt idx="1609">
                  <c:v>94.521053467492564</c:v>
                </c:pt>
                <c:pt idx="1610">
                  <c:v>95.07763670506462</c:v>
                </c:pt>
                <c:pt idx="1611">
                  <c:v>95.207264777600287</c:v>
                </c:pt>
                <c:pt idx="1612">
                  <c:v>95.581434457243773</c:v>
                </c:pt>
                <c:pt idx="1613">
                  <c:v>96.649756626213374</c:v>
                </c:pt>
                <c:pt idx="1614">
                  <c:v>97.230163401440635</c:v>
                </c:pt>
                <c:pt idx="1615">
                  <c:v>97.593589132729804</c:v>
                </c:pt>
                <c:pt idx="1616">
                  <c:v>98.095051243962388</c:v>
                </c:pt>
                <c:pt idx="1617">
                  <c:v>98.068892065360586</c:v>
                </c:pt>
                <c:pt idx="1618">
                  <c:v>98.16512047236003</c:v>
                </c:pt>
                <c:pt idx="1619">
                  <c:v>98.587404355503253</c:v>
                </c:pt>
                <c:pt idx="1620">
                  <c:v>98.234255444379059</c:v>
                </c:pt>
                <c:pt idx="1621">
                  <c:v>98.544194997991355</c:v>
                </c:pt>
                <c:pt idx="1622">
                  <c:v>98.237525341704284</c:v>
                </c:pt>
                <c:pt idx="1623">
                  <c:v>98.642525481842725</c:v>
                </c:pt>
                <c:pt idx="1624">
                  <c:v>98.704419966927333</c:v>
                </c:pt>
                <c:pt idx="1625">
                  <c:v>98.548632715789893</c:v>
                </c:pt>
                <c:pt idx="1626">
                  <c:v>98.8471276287639</c:v>
                </c:pt>
                <c:pt idx="1627">
                  <c:v>98.838952885450851</c:v>
                </c:pt>
                <c:pt idx="1628">
                  <c:v>98.805086091725286</c:v>
                </c:pt>
                <c:pt idx="1629">
                  <c:v>99.80450685277053</c:v>
                </c:pt>
                <c:pt idx="1630">
                  <c:v>99.985519026131158</c:v>
                </c:pt>
                <c:pt idx="1631">
                  <c:v>100.29429075927017</c:v>
                </c:pt>
                <c:pt idx="1632">
                  <c:v>100.24173883797192</c:v>
                </c:pt>
                <c:pt idx="1633">
                  <c:v>100.35128039836694</c:v>
                </c:pt>
                <c:pt idx="1634">
                  <c:v>100.35011257789364</c:v>
                </c:pt>
                <c:pt idx="1635">
                  <c:v>99.053131160252988</c:v>
                </c:pt>
                <c:pt idx="1636">
                  <c:v>97.659220643328965</c:v>
                </c:pt>
                <c:pt idx="1637">
                  <c:v>97.152853686108557</c:v>
                </c:pt>
                <c:pt idx="1638">
                  <c:v>97.276642656277744</c:v>
                </c:pt>
                <c:pt idx="1639">
                  <c:v>97.104038790324836</c:v>
                </c:pt>
                <c:pt idx="1640">
                  <c:v>98.17352877976775</c:v>
                </c:pt>
                <c:pt idx="1641">
                  <c:v>98.238226033988269</c:v>
                </c:pt>
                <c:pt idx="1642">
                  <c:v>97.029064715939356</c:v>
                </c:pt>
                <c:pt idx="1643">
                  <c:v>96.728934854302736</c:v>
                </c:pt>
                <c:pt idx="1644">
                  <c:v>96.654194344011884</c:v>
                </c:pt>
                <c:pt idx="1645">
                  <c:v>97.309108065435339</c:v>
                </c:pt>
                <c:pt idx="1646">
                  <c:v>97.906565019572696</c:v>
                </c:pt>
                <c:pt idx="1647">
                  <c:v>97.909367788708593</c:v>
                </c:pt>
                <c:pt idx="1648">
                  <c:v>98.662845558078047</c:v>
                </c:pt>
                <c:pt idx="1649">
                  <c:v>99.682119267169298</c:v>
                </c:pt>
                <c:pt idx="1650">
                  <c:v>99.744247316348549</c:v>
                </c:pt>
                <c:pt idx="1651">
                  <c:v>100.18124573745528</c:v>
                </c:pt>
                <c:pt idx="1652">
                  <c:v>100.32722329661705</c:v>
                </c:pt>
                <c:pt idx="1653">
                  <c:v>100.46222334332991</c:v>
                </c:pt>
                <c:pt idx="1654">
                  <c:v>100.20156581369059</c:v>
                </c:pt>
                <c:pt idx="1655">
                  <c:v>100.19315750628289</c:v>
                </c:pt>
                <c:pt idx="1656">
                  <c:v>100.47483580444148</c:v>
                </c:pt>
                <c:pt idx="1657">
                  <c:v>101.1211076543625</c:v>
                </c:pt>
                <c:pt idx="1658">
                  <c:v>101.22410942010708</c:v>
                </c:pt>
                <c:pt idx="1659">
                  <c:v>101.25844334202192</c:v>
                </c:pt>
                <c:pt idx="1660">
                  <c:v>101.00969758121026</c:v>
                </c:pt>
                <c:pt idx="1661">
                  <c:v>100.80883245980363</c:v>
                </c:pt>
                <c:pt idx="1662">
                  <c:v>100.15041527696032</c:v>
                </c:pt>
                <c:pt idx="1663">
                  <c:v>101.52283789717575</c:v>
                </c:pt>
                <c:pt idx="1664">
                  <c:v>101.68890196847819</c:v>
                </c:pt>
                <c:pt idx="1665">
                  <c:v>101.4135299008754</c:v>
                </c:pt>
                <c:pt idx="1666">
                  <c:v>101.01016470939956</c:v>
                </c:pt>
                <c:pt idx="1667">
                  <c:v>100.85320963778881</c:v>
                </c:pt>
                <c:pt idx="1668">
                  <c:v>100.79715425507068</c:v>
                </c:pt>
                <c:pt idx="1669">
                  <c:v>100.10206750936594</c:v>
                </c:pt>
                <c:pt idx="1670">
                  <c:v>99.529601913357084</c:v>
                </c:pt>
                <c:pt idx="1671">
                  <c:v>99.067378570027202</c:v>
                </c:pt>
                <c:pt idx="1672">
                  <c:v>99.70570924072986</c:v>
                </c:pt>
                <c:pt idx="1673">
                  <c:v>100.49632370115008</c:v>
                </c:pt>
                <c:pt idx="1674">
                  <c:v>99.965899642179821</c:v>
                </c:pt>
                <c:pt idx="1675">
                  <c:v>100.18054504517131</c:v>
                </c:pt>
                <c:pt idx="1676">
                  <c:v>100.72451582163178</c:v>
                </c:pt>
                <c:pt idx="1677">
                  <c:v>100.44213683118923</c:v>
                </c:pt>
                <c:pt idx="1678">
                  <c:v>101.00923045302093</c:v>
                </c:pt>
                <c:pt idx="1679">
                  <c:v>101.57235348524343</c:v>
                </c:pt>
                <c:pt idx="1680">
                  <c:v>102.43607350729187</c:v>
                </c:pt>
                <c:pt idx="1681">
                  <c:v>102.88334874856359</c:v>
                </c:pt>
                <c:pt idx="1682">
                  <c:v>103.25962050505902</c:v>
                </c:pt>
                <c:pt idx="1683">
                  <c:v>103.09098722871531</c:v>
                </c:pt>
                <c:pt idx="1684">
                  <c:v>103.16362566215422</c:v>
                </c:pt>
                <c:pt idx="1685">
                  <c:v>103.47776936947038</c:v>
                </c:pt>
                <c:pt idx="1686">
                  <c:v>104.13011388585258</c:v>
                </c:pt>
                <c:pt idx="1687">
                  <c:v>103.43269149920123</c:v>
                </c:pt>
                <c:pt idx="1688">
                  <c:v>103.5730635200912</c:v>
                </c:pt>
                <c:pt idx="1689">
                  <c:v>104.00702560796735</c:v>
                </c:pt>
                <c:pt idx="1690">
                  <c:v>103.44880742173268</c:v>
                </c:pt>
                <c:pt idx="1691">
                  <c:v>102.9274923624541</c:v>
                </c:pt>
                <c:pt idx="1692">
                  <c:v>103.5508749310986</c:v>
                </c:pt>
                <c:pt idx="1693">
                  <c:v>103.45511365228847</c:v>
                </c:pt>
                <c:pt idx="1694">
                  <c:v>104.23918831805825</c:v>
                </c:pt>
                <c:pt idx="1695">
                  <c:v>104.41926623504023</c:v>
                </c:pt>
                <c:pt idx="1696">
                  <c:v>105.01672318917758</c:v>
                </c:pt>
                <c:pt idx="1697">
                  <c:v>104.45406728514442</c:v>
                </c:pt>
                <c:pt idx="1698">
                  <c:v>104.94338406345472</c:v>
                </c:pt>
                <c:pt idx="1699">
                  <c:v>104.60728533124059</c:v>
                </c:pt>
                <c:pt idx="1700">
                  <c:v>105.1830208245747</c:v>
                </c:pt>
                <c:pt idx="1701">
                  <c:v>105.97246746452163</c:v>
                </c:pt>
                <c:pt idx="1702">
                  <c:v>105.8584881863281</c:v>
                </c:pt>
                <c:pt idx="1703">
                  <c:v>105.73703485710548</c:v>
                </c:pt>
                <c:pt idx="1704">
                  <c:v>105.71694834496483</c:v>
                </c:pt>
                <c:pt idx="1705">
                  <c:v>105.76319403570729</c:v>
                </c:pt>
                <c:pt idx="1706">
                  <c:v>105.64454347562058</c:v>
                </c:pt>
                <c:pt idx="1707">
                  <c:v>106.01474256565488</c:v>
                </c:pt>
                <c:pt idx="1708">
                  <c:v>106.74229472051722</c:v>
                </c:pt>
                <c:pt idx="1709">
                  <c:v>106.99874809645264</c:v>
                </c:pt>
                <c:pt idx="1710">
                  <c:v>107.32573782897504</c:v>
                </c:pt>
                <c:pt idx="1711">
                  <c:v>107.94281416706374</c:v>
                </c:pt>
                <c:pt idx="1712">
                  <c:v>108.21678485009858</c:v>
                </c:pt>
                <c:pt idx="1713">
                  <c:v>107.95636088455396</c:v>
                </c:pt>
                <c:pt idx="1714">
                  <c:v>108.19903397890451</c:v>
                </c:pt>
                <c:pt idx="1715">
                  <c:v>107.77371376253073</c:v>
                </c:pt>
                <c:pt idx="1716">
                  <c:v>107.65739884339061</c:v>
                </c:pt>
                <c:pt idx="1717">
                  <c:v>108.17240767211341</c:v>
                </c:pt>
                <c:pt idx="1718">
                  <c:v>108.41391294599066</c:v>
                </c:pt>
                <c:pt idx="1719">
                  <c:v>108.76355839569496</c:v>
                </c:pt>
                <c:pt idx="1720">
                  <c:v>108.96418995300692</c:v>
                </c:pt>
                <c:pt idx="1721">
                  <c:v>109.55837700981905</c:v>
                </c:pt>
                <c:pt idx="1722">
                  <c:v>109.61209675159058</c:v>
                </c:pt>
                <c:pt idx="1723">
                  <c:v>109.79007259172064</c:v>
                </c:pt>
                <c:pt idx="1724">
                  <c:v>109.57192372730927</c:v>
                </c:pt>
                <c:pt idx="1725">
                  <c:v>109.87508992217644</c:v>
                </c:pt>
                <c:pt idx="1726">
                  <c:v>109.62120575128228</c:v>
                </c:pt>
                <c:pt idx="1727">
                  <c:v>109.46495137195551</c:v>
                </c:pt>
                <c:pt idx="1728">
                  <c:v>109.88046189635361</c:v>
                </c:pt>
                <c:pt idx="1729">
                  <c:v>110.33941534235825</c:v>
                </c:pt>
                <c:pt idx="1730">
                  <c:v>110.82406083877538</c:v>
                </c:pt>
                <c:pt idx="1731">
                  <c:v>111.41731363920888</c:v>
                </c:pt>
                <c:pt idx="1732">
                  <c:v>110.99129273055112</c:v>
                </c:pt>
                <c:pt idx="1733">
                  <c:v>111.00320449937873</c:v>
                </c:pt>
                <c:pt idx="1734">
                  <c:v>111.28371497706402</c:v>
                </c:pt>
                <c:pt idx="1735">
                  <c:v>110.96770275699059</c:v>
                </c:pt>
                <c:pt idx="1736">
                  <c:v>110.97984808991284</c:v>
                </c:pt>
                <c:pt idx="1737">
                  <c:v>111.22789315844055</c:v>
                </c:pt>
                <c:pt idx="1738">
                  <c:v>111.59061819744574</c:v>
                </c:pt>
                <c:pt idx="1739">
                  <c:v>111.7391649616488</c:v>
                </c:pt>
                <c:pt idx="1740">
                  <c:v>111.48411297028132</c:v>
                </c:pt>
                <c:pt idx="1741">
                  <c:v>111.26923400319517</c:v>
                </c:pt>
                <c:pt idx="1742">
                  <c:v>110.72199332940946</c:v>
                </c:pt>
                <c:pt idx="1743">
                  <c:v>111.66932929734578</c:v>
                </c:pt>
                <c:pt idx="1744">
                  <c:v>111.58104206956475</c:v>
                </c:pt>
                <c:pt idx="1745">
                  <c:v>111.22765959434588</c:v>
                </c:pt>
                <c:pt idx="1746">
                  <c:v>111.51891402038547</c:v>
                </c:pt>
                <c:pt idx="1747">
                  <c:v>111.78470996010725</c:v>
                </c:pt>
                <c:pt idx="1748">
                  <c:v>112.54729672916841</c:v>
                </c:pt>
                <c:pt idx="1749">
                  <c:v>112.54309257546457</c:v>
                </c:pt>
                <c:pt idx="1750">
                  <c:v>112.21049730467037</c:v>
                </c:pt>
                <c:pt idx="1751">
                  <c:v>111.55464932686827</c:v>
                </c:pt>
                <c:pt idx="1752">
                  <c:v>111.28605061801061</c:v>
                </c:pt>
                <c:pt idx="1753">
                  <c:v>111.36990012799313</c:v>
                </c:pt>
                <c:pt idx="1754">
                  <c:v>111.42992610032047</c:v>
                </c:pt>
                <c:pt idx="1755">
                  <c:v>111.60323065855735</c:v>
                </c:pt>
                <c:pt idx="1756">
                  <c:v>111.65321337481433</c:v>
                </c:pt>
                <c:pt idx="1757">
                  <c:v>112.56481403626783</c:v>
                </c:pt>
                <c:pt idx="1758">
                  <c:v>111.9486719545578</c:v>
                </c:pt>
                <c:pt idx="1759">
                  <c:v>112.13342115343295</c:v>
                </c:pt>
                <c:pt idx="1760">
                  <c:v>111.89892280239546</c:v>
                </c:pt>
                <c:pt idx="1761">
                  <c:v>112.83761689882938</c:v>
                </c:pt>
                <c:pt idx="1762">
                  <c:v>113.23420873156013</c:v>
                </c:pt>
                <c:pt idx="1763">
                  <c:v>113.44628492951037</c:v>
                </c:pt>
                <c:pt idx="1764">
                  <c:v>113.27741808907201</c:v>
                </c:pt>
                <c:pt idx="1765">
                  <c:v>113.3070807290937</c:v>
                </c:pt>
                <c:pt idx="1766">
                  <c:v>113.55395797714809</c:v>
                </c:pt>
                <c:pt idx="1767">
                  <c:v>112.95766884348404</c:v>
                </c:pt>
                <c:pt idx="1768">
                  <c:v>112.00612872184388</c:v>
                </c:pt>
                <c:pt idx="1769">
                  <c:v>110.88198473425079</c:v>
                </c:pt>
                <c:pt idx="1770">
                  <c:v>110.90487401552735</c:v>
                </c:pt>
                <c:pt idx="1771">
                  <c:v>110.92823042499325</c:v>
                </c:pt>
                <c:pt idx="1772">
                  <c:v>110.52906938722124</c:v>
                </c:pt>
                <c:pt idx="1773">
                  <c:v>110.21842914132496</c:v>
                </c:pt>
                <c:pt idx="1774">
                  <c:v>109.91806571559368</c:v>
                </c:pt>
                <c:pt idx="1775">
                  <c:v>110.75352448218842</c:v>
                </c:pt>
                <c:pt idx="1776">
                  <c:v>111.10293636779807</c:v>
                </c:pt>
                <c:pt idx="1777">
                  <c:v>111.37480497398096</c:v>
                </c:pt>
                <c:pt idx="1778">
                  <c:v>111.96548856937321</c:v>
                </c:pt>
                <c:pt idx="1779">
                  <c:v>111.85524631669426</c:v>
                </c:pt>
                <c:pt idx="1780">
                  <c:v>112.57532442052749</c:v>
                </c:pt>
                <c:pt idx="1781">
                  <c:v>113.48809290245431</c:v>
                </c:pt>
                <c:pt idx="1782">
                  <c:v>113.89262591440344</c:v>
                </c:pt>
                <c:pt idx="1783">
                  <c:v>114.30556723376031</c:v>
                </c:pt>
                <c:pt idx="1784">
                  <c:v>114.30112951596179</c:v>
                </c:pt>
                <c:pt idx="1785">
                  <c:v>115.00439100497961</c:v>
                </c:pt>
                <c:pt idx="1786">
                  <c:v>115.17302428132328</c:v>
                </c:pt>
                <c:pt idx="1787">
                  <c:v>115.52617319244747</c:v>
                </c:pt>
                <c:pt idx="1788">
                  <c:v>115.5651783962555</c:v>
                </c:pt>
                <c:pt idx="1789">
                  <c:v>115.72516980109684</c:v>
                </c:pt>
                <c:pt idx="1790">
                  <c:v>116.00684809925541</c:v>
                </c:pt>
                <c:pt idx="1791">
                  <c:v>115.82279959266424</c:v>
                </c:pt>
                <c:pt idx="1792">
                  <c:v>116.40227211151284</c:v>
                </c:pt>
                <c:pt idx="1793">
                  <c:v>117.56168427739941</c:v>
                </c:pt>
                <c:pt idx="1794">
                  <c:v>117.42481571792933</c:v>
                </c:pt>
                <c:pt idx="1795">
                  <c:v>116.66456458981476</c:v>
                </c:pt>
                <c:pt idx="1796">
                  <c:v>116.2254640918561</c:v>
                </c:pt>
                <c:pt idx="1797">
                  <c:v>115.83097433597729</c:v>
                </c:pt>
                <c:pt idx="1798">
                  <c:v>115.67331857208256</c:v>
                </c:pt>
                <c:pt idx="1799">
                  <c:v>115.02307613255229</c:v>
                </c:pt>
                <c:pt idx="1800">
                  <c:v>114.49101712491942</c:v>
                </c:pt>
                <c:pt idx="1801">
                  <c:v>114.48704653531023</c:v>
                </c:pt>
                <c:pt idx="1802">
                  <c:v>114.56435625064232</c:v>
                </c:pt>
                <c:pt idx="1803">
                  <c:v>114.91960723861845</c:v>
                </c:pt>
                <c:pt idx="1804">
                  <c:v>115.52570606425816</c:v>
                </c:pt>
                <c:pt idx="1805">
                  <c:v>115.08707269448884</c:v>
                </c:pt>
                <c:pt idx="1806">
                  <c:v>114.0575221652326</c:v>
                </c:pt>
                <c:pt idx="1807">
                  <c:v>114.63512617132395</c:v>
                </c:pt>
                <c:pt idx="1808">
                  <c:v>114.29879387501521</c:v>
                </c:pt>
                <c:pt idx="1809">
                  <c:v>114.60289432626102</c:v>
                </c:pt>
                <c:pt idx="1810">
                  <c:v>114.06990106224953</c:v>
                </c:pt>
                <c:pt idx="1811">
                  <c:v>114.51927838037315</c:v>
                </c:pt>
              </c:numCache>
            </c:numRef>
          </c:val>
          <c:smooth val="0"/>
        </c:ser>
        <c:ser>
          <c:idx val="1"/>
          <c:order val="1"/>
          <c:tx>
            <c:strRef>
              <c:f>Sheet1!$C$1</c:f>
              <c:strCache>
                <c:ptCount val="1"/>
                <c:pt idx="0">
                  <c:v>SXW1R</c:v>
                </c:pt>
              </c:strCache>
            </c:strRef>
          </c:tx>
          <c:spPr>
            <a:ln w="28575">
              <a:solidFill>
                <a:schemeClr val="accent2"/>
              </a:solidFill>
              <a:prstDash val="solid"/>
            </a:ln>
          </c:spPr>
          <c:marker>
            <c:symbol val="none"/>
          </c:marker>
          <c:cat>
            <c:numRef>
              <c:f>Sheet1!$A$2:$A$1813</c:f>
              <c:numCache>
                <c:formatCode>m/d/yyyy</c:formatCode>
                <c:ptCount val="1812"/>
                <c:pt idx="0">
                  <c:v>39356</c:v>
                </c:pt>
                <c:pt idx="1">
                  <c:v>39357</c:v>
                </c:pt>
                <c:pt idx="2">
                  <c:v>39358</c:v>
                </c:pt>
                <c:pt idx="3">
                  <c:v>39359</c:v>
                </c:pt>
                <c:pt idx="4">
                  <c:v>39360</c:v>
                </c:pt>
                <c:pt idx="5">
                  <c:v>39363</c:v>
                </c:pt>
                <c:pt idx="6">
                  <c:v>39364</c:v>
                </c:pt>
                <c:pt idx="7">
                  <c:v>39365</c:v>
                </c:pt>
                <c:pt idx="8">
                  <c:v>39366</c:v>
                </c:pt>
                <c:pt idx="9">
                  <c:v>39367</c:v>
                </c:pt>
                <c:pt idx="10">
                  <c:v>39370</c:v>
                </c:pt>
                <c:pt idx="11">
                  <c:v>39371</c:v>
                </c:pt>
                <c:pt idx="12">
                  <c:v>39372</c:v>
                </c:pt>
                <c:pt idx="13">
                  <c:v>39373</c:v>
                </c:pt>
                <c:pt idx="14">
                  <c:v>39374</c:v>
                </c:pt>
                <c:pt idx="15">
                  <c:v>39377</c:v>
                </c:pt>
                <c:pt idx="16">
                  <c:v>39378</c:v>
                </c:pt>
                <c:pt idx="17">
                  <c:v>39379</c:v>
                </c:pt>
                <c:pt idx="18">
                  <c:v>39380</c:v>
                </c:pt>
                <c:pt idx="19">
                  <c:v>39381</c:v>
                </c:pt>
                <c:pt idx="20">
                  <c:v>39384</c:v>
                </c:pt>
                <c:pt idx="21">
                  <c:v>39385</c:v>
                </c:pt>
                <c:pt idx="22">
                  <c:v>39386</c:v>
                </c:pt>
                <c:pt idx="23">
                  <c:v>39387</c:v>
                </c:pt>
                <c:pt idx="24">
                  <c:v>39388</c:v>
                </c:pt>
                <c:pt idx="25">
                  <c:v>39391</c:v>
                </c:pt>
                <c:pt idx="26">
                  <c:v>39392</c:v>
                </c:pt>
                <c:pt idx="27">
                  <c:v>39393</c:v>
                </c:pt>
                <c:pt idx="28">
                  <c:v>39394</c:v>
                </c:pt>
                <c:pt idx="29">
                  <c:v>39395</c:v>
                </c:pt>
                <c:pt idx="30">
                  <c:v>39398</c:v>
                </c:pt>
                <c:pt idx="31">
                  <c:v>39399</c:v>
                </c:pt>
                <c:pt idx="32">
                  <c:v>39400</c:v>
                </c:pt>
                <c:pt idx="33">
                  <c:v>39401</c:v>
                </c:pt>
                <c:pt idx="34">
                  <c:v>39402</c:v>
                </c:pt>
                <c:pt idx="35">
                  <c:v>39405</c:v>
                </c:pt>
                <c:pt idx="36">
                  <c:v>39406</c:v>
                </c:pt>
                <c:pt idx="37">
                  <c:v>39407</c:v>
                </c:pt>
                <c:pt idx="38">
                  <c:v>39408</c:v>
                </c:pt>
                <c:pt idx="39">
                  <c:v>39409</c:v>
                </c:pt>
                <c:pt idx="40">
                  <c:v>39412</c:v>
                </c:pt>
                <c:pt idx="41">
                  <c:v>39413</c:v>
                </c:pt>
                <c:pt idx="42">
                  <c:v>39414</c:v>
                </c:pt>
                <c:pt idx="43">
                  <c:v>39415</c:v>
                </c:pt>
                <c:pt idx="44">
                  <c:v>39416</c:v>
                </c:pt>
                <c:pt idx="45">
                  <c:v>39419</c:v>
                </c:pt>
                <c:pt idx="46">
                  <c:v>39420</c:v>
                </c:pt>
                <c:pt idx="47">
                  <c:v>39421</c:v>
                </c:pt>
                <c:pt idx="48">
                  <c:v>39422</c:v>
                </c:pt>
                <c:pt idx="49">
                  <c:v>39423</c:v>
                </c:pt>
                <c:pt idx="50">
                  <c:v>39426</c:v>
                </c:pt>
                <c:pt idx="51">
                  <c:v>39427</c:v>
                </c:pt>
                <c:pt idx="52">
                  <c:v>39428</c:v>
                </c:pt>
                <c:pt idx="53">
                  <c:v>39429</c:v>
                </c:pt>
                <c:pt idx="54">
                  <c:v>39430</c:v>
                </c:pt>
                <c:pt idx="55">
                  <c:v>39433</c:v>
                </c:pt>
                <c:pt idx="56">
                  <c:v>39434</c:v>
                </c:pt>
                <c:pt idx="57">
                  <c:v>39435</c:v>
                </c:pt>
                <c:pt idx="58">
                  <c:v>39436</c:v>
                </c:pt>
                <c:pt idx="59">
                  <c:v>39437</c:v>
                </c:pt>
                <c:pt idx="60">
                  <c:v>39440</c:v>
                </c:pt>
                <c:pt idx="61">
                  <c:v>39441</c:v>
                </c:pt>
                <c:pt idx="62">
                  <c:v>39442</c:v>
                </c:pt>
                <c:pt idx="63">
                  <c:v>39443</c:v>
                </c:pt>
                <c:pt idx="64">
                  <c:v>39444</c:v>
                </c:pt>
                <c:pt idx="65">
                  <c:v>39447</c:v>
                </c:pt>
                <c:pt idx="66">
                  <c:v>39448</c:v>
                </c:pt>
                <c:pt idx="67">
                  <c:v>39449</c:v>
                </c:pt>
                <c:pt idx="68">
                  <c:v>39450</c:v>
                </c:pt>
                <c:pt idx="69">
                  <c:v>39451</c:v>
                </c:pt>
                <c:pt idx="70">
                  <c:v>39454</c:v>
                </c:pt>
                <c:pt idx="71">
                  <c:v>39455</c:v>
                </c:pt>
                <c:pt idx="72">
                  <c:v>39456</c:v>
                </c:pt>
                <c:pt idx="73">
                  <c:v>39457</c:v>
                </c:pt>
                <c:pt idx="74">
                  <c:v>39458</c:v>
                </c:pt>
                <c:pt idx="75">
                  <c:v>39461</c:v>
                </c:pt>
                <c:pt idx="76">
                  <c:v>39462</c:v>
                </c:pt>
                <c:pt idx="77">
                  <c:v>39463</c:v>
                </c:pt>
                <c:pt idx="78">
                  <c:v>39464</c:v>
                </c:pt>
                <c:pt idx="79">
                  <c:v>39465</c:v>
                </c:pt>
                <c:pt idx="80">
                  <c:v>39468</c:v>
                </c:pt>
                <c:pt idx="81">
                  <c:v>39469</c:v>
                </c:pt>
                <c:pt idx="82">
                  <c:v>39470</c:v>
                </c:pt>
                <c:pt idx="83">
                  <c:v>39471</c:v>
                </c:pt>
                <c:pt idx="84">
                  <c:v>39472</c:v>
                </c:pt>
                <c:pt idx="85">
                  <c:v>39475</c:v>
                </c:pt>
                <c:pt idx="86">
                  <c:v>39476</c:v>
                </c:pt>
                <c:pt idx="87">
                  <c:v>39477</c:v>
                </c:pt>
                <c:pt idx="88">
                  <c:v>39478</c:v>
                </c:pt>
                <c:pt idx="89">
                  <c:v>39479</c:v>
                </c:pt>
                <c:pt idx="90">
                  <c:v>39482</c:v>
                </c:pt>
                <c:pt idx="91">
                  <c:v>39483</c:v>
                </c:pt>
                <c:pt idx="92">
                  <c:v>39484</c:v>
                </c:pt>
                <c:pt idx="93">
                  <c:v>39485</c:v>
                </c:pt>
                <c:pt idx="94">
                  <c:v>39486</c:v>
                </c:pt>
                <c:pt idx="95">
                  <c:v>39489</c:v>
                </c:pt>
                <c:pt idx="96">
                  <c:v>39490</c:v>
                </c:pt>
                <c:pt idx="97">
                  <c:v>39491</c:v>
                </c:pt>
                <c:pt idx="98">
                  <c:v>39492</c:v>
                </c:pt>
                <c:pt idx="99">
                  <c:v>39493</c:v>
                </c:pt>
                <c:pt idx="100">
                  <c:v>39496</c:v>
                </c:pt>
                <c:pt idx="101">
                  <c:v>39497</c:v>
                </c:pt>
                <c:pt idx="102">
                  <c:v>39498</c:v>
                </c:pt>
                <c:pt idx="103">
                  <c:v>39499</c:v>
                </c:pt>
                <c:pt idx="104">
                  <c:v>39500</c:v>
                </c:pt>
                <c:pt idx="105">
                  <c:v>39503</c:v>
                </c:pt>
                <c:pt idx="106">
                  <c:v>39504</c:v>
                </c:pt>
                <c:pt idx="107">
                  <c:v>39505</c:v>
                </c:pt>
                <c:pt idx="108">
                  <c:v>39506</c:v>
                </c:pt>
                <c:pt idx="109">
                  <c:v>39507</c:v>
                </c:pt>
                <c:pt idx="110">
                  <c:v>39510</c:v>
                </c:pt>
                <c:pt idx="111">
                  <c:v>39511</c:v>
                </c:pt>
                <c:pt idx="112">
                  <c:v>39512</c:v>
                </c:pt>
                <c:pt idx="113">
                  <c:v>39513</c:v>
                </c:pt>
                <c:pt idx="114">
                  <c:v>39514</c:v>
                </c:pt>
                <c:pt idx="115">
                  <c:v>39517</c:v>
                </c:pt>
                <c:pt idx="116">
                  <c:v>39518</c:v>
                </c:pt>
                <c:pt idx="117">
                  <c:v>39519</c:v>
                </c:pt>
                <c:pt idx="118">
                  <c:v>39520</c:v>
                </c:pt>
                <c:pt idx="119">
                  <c:v>39521</c:v>
                </c:pt>
                <c:pt idx="120">
                  <c:v>39524</c:v>
                </c:pt>
                <c:pt idx="121">
                  <c:v>39525</c:v>
                </c:pt>
                <c:pt idx="122">
                  <c:v>39526</c:v>
                </c:pt>
                <c:pt idx="123">
                  <c:v>39527</c:v>
                </c:pt>
                <c:pt idx="124">
                  <c:v>39528</c:v>
                </c:pt>
                <c:pt idx="125">
                  <c:v>39531</c:v>
                </c:pt>
                <c:pt idx="126">
                  <c:v>39532</c:v>
                </c:pt>
                <c:pt idx="127">
                  <c:v>39533</c:v>
                </c:pt>
                <c:pt idx="128">
                  <c:v>39534</c:v>
                </c:pt>
                <c:pt idx="129">
                  <c:v>39535</c:v>
                </c:pt>
                <c:pt idx="130">
                  <c:v>39538</c:v>
                </c:pt>
                <c:pt idx="131">
                  <c:v>39539</c:v>
                </c:pt>
                <c:pt idx="132">
                  <c:v>39540</c:v>
                </c:pt>
                <c:pt idx="133">
                  <c:v>39541</c:v>
                </c:pt>
                <c:pt idx="134">
                  <c:v>39542</c:v>
                </c:pt>
                <c:pt idx="135">
                  <c:v>39545</c:v>
                </c:pt>
                <c:pt idx="136">
                  <c:v>39546</c:v>
                </c:pt>
                <c:pt idx="137">
                  <c:v>39547</c:v>
                </c:pt>
                <c:pt idx="138">
                  <c:v>39548</c:v>
                </c:pt>
                <c:pt idx="139">
                  <c:v>39549</c:v>
                </c:pt>
                <c:pt idx="140">
                  <c:v>39552</c:v>
                </c:pt>
                <c:pt idx="141">
                  <c:v>39553</c:v>
                </c:pt>
                <c:pt idx="142">
                  <c:v>39554</c:v>
                </c:pt>
                <c:pt idx="143">
                  <c:v>39555</c:v>
                </c:pt>
                <c:pt idx="144">
                  <c:v>39556</c:v>
                </c:pt>
                <c:pt idx="145">
                  <c:v>39559</c:v>
                </c:pt>
                <c:pt idx="146">
                  <c:v>39560</c:v>
                </c:pt>
                <c:pt idx="147">
                  <c:v>39561</c:v>
                </c:pt>
                <c:pt idx="148">
                  <c:v>39562</c:v>
                </c:pt>
                <c:pt idx="149">
                  <c:v>39563</c:v>
                </c:pt>
                <c:pt idx="150">
                  <c:v>39566</c:v>
                </c:pt>
                <c:pt idx="151">
                  <c:v>39567</c:v>
                </c:pt>
                <c:pt idx="152">
                  <c:v>39568</c:v>
                </c:pt>
                <c:pt idx="153">
                  <c:v>39569</c:v>
                </c:pt>
                <c:pt idx="154">
                  <c:v>39570</c:v>
                </c:pt>
                <c:pt idx="155">
                  <c:v>39573</c:v>
                </c:pt>
                <c:pt idx="156">
                  <c:v>39574</c:v>
                </c:pt>
                <c:pt idx="157">
                  <c:v>39575</c:v>
                </c:pt>
                <c:pt idx="158">
                  <c:v>39576</c:v>
                </c:pt>
                <c:pt idx="159">
                  <c:v>39577</c:v>
                </c:pt>
                <c:pt idx="160">
                  <c:v>39580</c:v>
                </c:pt>
                <c:pt idx="161">
                  <c:v>39581</c:v>
                </c:pt>
                <c:pt idx="162">
                  <c:v>39582</c:v>
                </c:pt>
                <c:pt idx="163">
                  <c:v>39583</c:v>
                </c:pt>
                <c:pt idx="164">
                  <c:v>39584</c:v>
                </c:pt>
                <c:pt idx="165">
                  <c:v>39587</c:v>
                </c:pt>
                <c:pt idx="166">
                  <c:v>39588</c:v>
                </c:pt>
                <c:pt idx="167">
                  <c:v>39589</c:v>
                </c:pt>
                <c:pt idx="168">
                  <c:v>39590</c:v>
                </c:pt>
                <c:pt idx="169">
                  <c:v>39591</c:v>
                </c:pt>
                <c:pt idx="170">
                  <c:v>39594</c:v>
                </c:pt>
                <c:pt idx="171">
                  <c:v>39595</c:v>
                </c:pt>
                <c:pt idx="172">
                  <c:v>39596</c:v>
                </c:pt>
                <c:pt idx="173">
                  <c:v>39597</c:v>
                </c:pt>
                <c:pt idx="174">
                  <c:v>39598</c:v>
                </c:pt>
                <c:pt idx="175">
                  <c:v>39601</c:v>
                </c:pt>
                <c:pt idx="176">
                  <c:v>39602</c:v>
                </c:pt>
                <c:pt idx="177">
                  <c:v>39603</c:v>
                </c:pt>
                <c:pt idx="178">
                  <c:v>39604</c:v>
                </c:pt>
                <c:pt idx="179">
                  <c:v>39605</c:v>
                </c:pt>
                <c:pt idx="180">
                  <c:v>39608</c:v>
                </c:pt>
                <c:pt idx="181">
                  <c:v>39609</c:v>
                </c:pt>
                <c:pt idx="182">
                  <c:v>39610</c:v>
                </c:pt>
                <c:pt idx="183">
                  <c:v>39611</c:v>
                </c:pt>
                <c:pt idx="184">
                  <c:v>39612</c:v>
                </c:pt>
                <c:pt idx="185">
                  <c:v>39615</c:v>
                </c:pt>
                <c:pt idx="186">
                  <c:v>39616</c:v>
                </c:pt>
                <c:pt idx="187">
                  <c:v>39617</c:v>
                </c:pt>
                <c:pt idx="188">
                  <c:v>39618</c:v>
                </c:pt>
                <c:pt idx="189">
                  <c:v>39619</c:v>
                </c:pt>
                <c:pt idx="190">
                  <c:v>39622</c:v>
                </c:pt>
                <c:pt idx="191">
                  <c:v>39623</c:v>
                </c:pt>
                <c:pt idx="192">
                  <c:v>39624</c:v>
                </c:pt>
                <c:pt idx="193">
                  <c:v>39625</c:v>
                </c:pt>
                <c:pt idx="194">
                  <c:v>39626</c:v>
                </c:pt>
                <c:pt idx="195">
                  <c:v>39629</c:v>
                </c:pt>
                <c:pt idx="196">
                  <c:v>39630</c:v>
                </c:pt>
                <c:pt idx="197">
                  <c:v>39631</c:v>
                </c:pt>
                <c:pt idx="198">
                  <c:v>39632</c:v>
                </c:pt>
                <c:pt idx="199">
                  <c:v>39633</c:v>
                </c:pt>
                <c:pt idx="200">
                  <c:v>39636</c:v>
                </c:pt>
                <c:pt idx="201">
                  <c:v>39637</c:v>
                </c:pt>
                <c:pt idx="202">
                  <c:v>39638</c:v>
                </c:pt>
                <c:pt idx="203">
                  <c:v>39639</c:v>
                </c:pt>
                <c:pt idx="204">
                  <c:v>39640</c:v>
                </c:pt>
                <c:pt idx="205">
                  <c:v>39643</c:v>
                </c:pt>
                <c:pt idx="206">
                  <c:v>39644</c:v>
                </c:pt>
                <c:pt idx="207">
                  <c:v>39645</c:v>
                </c:pt>
                <c:pt idx="208">
                  <c:v>39646</c:v>
                </c:pt>
                <c:pt idx="209">
                  <c:v>39647</c:v>
                </c:pt>
                <c:pt idx="210">
                  <c:v>39650</c:v>
                </c:pt>
                <c:pt idx="211">
                  <c:v>39651</c:v>
                </c:pt>
                <c:pt idx="212">
                  <c:v>39652</c:v>
                </c:pt>
                <c:pt idx="213">
                  <c:v>39653</c:v>
                </c:pt>
                <c:pt idx="214">
                  <c:v>39654</c:v>
                </c:pt>
                <c:pt idx="215">
                  <c:v>39657</c:v>
                </c:pt>
                <c:pt idx="216">
                  <c:v>39658</c:v>
                </c:pt>
                <c:pt idx="217">
                  <c:v>39659</c:v>
                </c:pt>
                <c:pt idx="218">
                  <c:v>39660</c:v>
                </c:pt>
                <c:pt idx="219">
                  <c:v>39661</c:v>
                </c:pt>
                <c:pt idx="220">
                  <c:v>39664</c:v>
                </c:pt>
                <c:pt idx="221">
                  <c:v>39665</c:v>
                </c:pt>
                <c:pt idx="222">
                  <c:v>39666</c:v>
                </c:pt>
                <c:pt idx="223">
                  <c:v>39667</c:v>
                </c:pt>
                <c:pt idx="224">
                  <c:v>39668</c:v>
                </c:pt>
                <c:pt idx="225">
                  <c:v>39671</c:v>
                </c:pt>
                <c:pt idx="226">
                  <c:v>39672</c:v>
                </c:pt>
                <c:pt idx="227">
                  <c:v>39673</c:v>
                </c:pt>
                <c:pt idx="228">
                  <c:v>39674</c:v>
                </c:pt>
                <c:pt idx="229">
                  <c:v>39675</c:v>
                </c:pt>
                <c:pt idx="230">
                  <c:v>39678</c:v>
                </c:pt>
                <c:pt idx="231">
                  <c:v>39679</c:v>
                </c:pt>
                <c:pt idx="232">
                  <c:v>39680</c:v>
                </c:pt>
                <c:pt idx="233">
                  <c:v>39681</c:v>
                </c:pt>
                <c:pt idx="234">
                  <c:v>39682</c:v>
                </c:pt>
                <c:pt idx="235">
                  <c:v>39685</c:v>
                </c:pt>
                <c:pt idx="236">
                  <c:v>39686</c:v>
                </c:pt>
                <c:pt idx="237">
                  <c:v>39687</c:v>
                </c:pt>
                <c:pt idx="238">
                  <c:v>39688</c:v>
                </c:pt>
                <c:pt idx="239">
                  <c:v>39689</c:v>
                </c:pt>
                <c:pt idx="240">
                  <c:v>39692</c:v>
                </c:pt>
                <c:pt idx="241">
                  <c:v>39693</c:v>
                </c:pt>
                <c:pt idx="242">
                  <c:v>39694</c:v>
                </c:pt>
                <c:pt idx="243">
                  <c:v>39695</c:v>
                </c:pt>
                <c:pt idx="244">
                  <c:v>39696</c:v>
                </c:pt>
                <c:pt idx="245">
                  <c:v>39699</c:v>
                </c:pt>
                <c:pt idx="246">
                  <c:v>39700</c:v>
                </c:pt>
                <c:pt idx="247">
                  <c:v>39701</c:v>
                </c:pt>
                <c:pt idx="248">
                  <c:v>39702</c:v>
                </c:pt>
                <c:pt idx="249">
                  <c:v>39703</c:v>
                </c:pt>
                <c:pt idx="250">
                  <c:v>39706</c:v>
                </c:pt>
                <c:pt idx="251">
                  <c:v>39707</c:v>
                </c:pt>
                <c:pt idx="252">
                  <c:v>39708</c:v>
                </c:pt>
                <c:pt idx="253">
                  <c:v>39709</c:v>
                </c:pt>
                <c:pt idx="254">
                  <c:v>39710</c:v>
                </c:pt>
                <c:pt idx="255">
                  <c:v>39713</c:v>
                </c:pt>
                <c:pt idx="256">
                  <c:v>39714</c:v>
                </c:pt>
                <c:pt idx="257">
                  <c:v>39715</c:v>
                </c:pt>
                <c:pt idx="258">
                  <c:v>39716</c:v>
                </c:pt>
                <c:pt idx="259">
                  <c:v>39717</c:v>
                </c:pt>
                <c:pt idx="260">
                  <c:v>39720</c:v>
                </c:pt>
                <c:pt idx="261">
                  <c:v>39721</c:v>
                </c:pt>
                <c:pt idx="262">
                  <c:v>39722</c:v>
                </c:pt>
                <c:pt idx="263">
                  <c:v>39723</c:v>
                </c:pt>
                <c:pt idx="264">
                  <c:v>39724</c:v>
                </c:pt>
                <c:pt idx="265">
                  <c:v>39727</c:v>
                </c:pt>
                <c:pt idx="266">
                  <c:v>39728</c:v>
                </c:pt>
                <c:pt idx="267">
                  <c:v>39729</c:v>
                </c:pt>
                <c:pt idx="268">
                  <c:v>39730</c:v>
                </c:pt>
                <c:pt idx="269">
                  <c:v>39731</c:v>
                </c:pt>
                <c:pt idx="270">
                  <c:v>39734</c:v>
                </c:pt>
                <c:pt idx="271">
                  <c:v>39735</c:v>
                </c:pt>
                <c:pt idx="272">
                  <c:v>39736</c:v>
                </c:pt>
                <c:pt idx="273">
                  <c:v>39737</c:v>
                </c:pt>
                <c:pt idx="274">
                  <c:v>39738</c:v>
                </c:pt>
                <c:pt idx="275">
                  <c:v>39741</c:v>
                </c:pt>
                <c:pt idx="276">
                  <c:v>39742</c:v>
                </c:pt>
                <c:pt idx="277">
                  <c:v>39743</c:v>
                </c:pt>
                <c:pt idx="278">
                  <c:v>39744</c:v>
                </c:pt>
                <c:pt idx="279">
                  <c:v>39745</c:v>
                </c:pt>
                <c:pt idx="280">
                  <c:v>39748</c:v>
                </c:pt>
                <c:pt idx="281">
                  <c:v>39749</c:v>
                </c:pt>
                <c:pt idx="282">
                  <c:v>39750</c:v>
                </c:pt>
                <c:pt idx="283">
                  <c:v>39751</c:v>
                </c:pt>
                <c:pt idx="284">
                  <c:v>39752</c:v>
                </c:pt>
                <c:pt idx="285">
                  <c:v>39755</c:v>
                </c:pt>
                <c:pt idx="286">
                  <c:v>39756</c:v>
                </c:pt>
                <c:pt idx="287">
                  <c:v>39757</c:v>
                </c:pt>
                <c:pt idx="288">
                  <c:v>39758</c:v>
                </c:pt>
                <c:pt idx="289">
                  <c:v>39759</c:v>
                </c:pt>
                <c:pt idx="290">
                  <c:v>39762</c:v>
                </c:pt>
                <c:pt idx="291">
                  <c:v>39763</c:v>
                </c:pt>
                <c:pt idx="292">
                  <c:v>39764</c:v>
                </c:pt>
                <c:pt idx="293">
                  <c:v>39765</c:v>
                </c:pt>
                <c:pt idx="294">
                  <c:v>39766</c:v>
                </c:pt>
                <c:pt idx="295">
                  <c:v>39769</c:v>
                </c:pt>
                <c:pt idx="296">
                  <c:v>39770</c:v>
                </c:pt>
                <c:pt idx="297">
                  <c:v>39771</c:v>
                </c:pt>
                <c:pt idx="298">
                  <c:v>39772</c:v>
                </c:pt>
                <c:pt idx="299">
                  <c:v>39773</c:v>
                </c:pt>
                <c:pt idx="300">
                  <c:v>39776</c:v>
                </c:pt>
                <c:pt idx="301">
                  <c:v>39777</c:v>
                </c:pt>
                <c:pt idx="302">
                  <c:v>39778</c:v>
                </c:pt>
                <c:pt idx="303">
                  <c:v>39779</c:v>
                </c:pt>
                <c:pt idx="304">
                  <c:v>39780</c:v>
                </c:pt>
                <c:pt idx="305">
                  <c:v>39783</c:v>
                </c:pt>
                <c:pt idx="306">
                  <c:v>39784</c:v>
                </c:pt>
                <c:pt idx="307">
                  <c:v>39785</c:v>
                </c:pt>
                <c:pt idx="308">
                  <c:v>39786</c:v>
                </c:pt>
                <c:pt idx="309">
                  <c:v>39787</c:v>
                </c:pt>
                <c:pt idx="310">
                  <c:v>39790</c:v>
                </c:pt>
                <c:pt idx="311">
                  <c:v>39791</c:v>
                </c:pt>
                <c:pt idx="312">
                  <c:v>39792</c:v>
                </c:pt>
                <c:pt idx="313">
                  <c:v>39793</c:v>
                </c:pt>
                <c:pt idx="314">
                  <c:v>39794</c:v>
                </c:pt>
                <c:pt idx="315">
                  <c:v>39797</c:v>
                </c:pt>
                <c:pt idx="316">
                  <c:v>39798</c:v>
                </c:pt>
                <c:pt idx="317">
                  <c:v>39799</c:v>
                </c:pt>
                <c:pt idx="318">
                  <c:v>39800</c:v>
                </c:pt>
                <c:pt idx="319">
                  <c:v>39801</c:v>
                </c:pt>
                <c:pt idx="320">
                  <c:v>39804</c:v>
                </c:pt>
                <c:pt idx="321">
                  <c:v>39805</c:v>
                </c:pt>
                <c:pt idx="322">
                  <c:v>39806</c:v>
                </c:pt>
                <c:pt idx="323">
                  <c:v>39807</c:v>
                </c:pt>
                <c:pt idx="324">
                  <c:v>39808</c:v>
                </c:pt>
                <c:pt idx="325">
                  <c:v>39811</c:v>
                </c:pt>
                <c:pt idx="326">
                  <c:v>39812</c:v>
                </c:pt>
                <c:pt idx="327">
                  <c:v>39813</c:v>
                </c:pt>
                <c:pt idx="328">
                  <c:v>39814</c:v>
                </c:pt>
                <c:pt idx="329">
                  <c:v>39815</c:v>
                </c:pt>
                <c:pt idx="330">
                  <c:v>39818</c:v>
                </c:pt>
                <c:pt idx="331">
                  <c:v>39819</c:v>
                </c:pt>
                <c:pt idx="332">
                  <c:v>39820</c:v>
                </c:pt>
                <c:pt idx="333">
                  <c:v>39821</c:v>
                </c:pt>
                <c:pt idx="334">
                  <c:v>39822</c:v>
                </c:pt>
                <c:pt idx="335">
                  <c:v>39825</c:v>
                </c:pt>
                <c:pt idx="336">
                  <c:v>39826</c:v>
                </c:pt>
                <c:pt idx="337">
                  <c:v>39827</c:v>
                </c:pt>
                <c:pt idx="338">
                  <c:v>39828</c:v>
                </c:pt>
                <c:pt idx="339">
                  <c:v>39829</c:v>
                </c:pt>
                <c:pt idx="340">
                  <c:v>39832</c:v>
                </c:pt>
                <c:pt idx="341">
                  <c:v>39833</c:v>
                </c:pt>
                <c:pt idx="342">
                  <c:v>39834</c:v>
                </c:pt>
                <c:pt idx="343">
                  <c:v>39835</c:v>
                </c:pt>
                <c:pt idx="344">
                  <c:v>39836</c:v>
                </c:pt>
                <c:pt idx="345">
                  <c:v>39839</c:v>
                </c:pt>
                <c:pt idx="346">
                  <c:v>39840</c:v>
                </c:pt>
                <c:pt idx="347">
                  <c:v>39841</c:v>
                </c:pt>
                <c:pt idx="348">
                  <c:v>39842</c:v>
                </c:pt>
                <c:pt idx="349">
                  <c:v>39843</c:v>
                </c:pt>
                <c:pt idx="350">
                  <c:v>39846</c:v>
                </c:pt>
                <c:pt idx="351">
                  <c:v>39847</c:v>
                </c:pt>
                <c:pt idx="352">
                  <c:v>39848</c:v>
                </c:pt>
                <c:pt idx="353">
                  <c:v>39849</c:v>
                </c:pt>
                <c:pt idx="354">
                  <c:v>39850</c:v>
                </c:pt>
                <c:pt idx="355">
                  <c:v>39853</c:v>
                </c:pt>
                <c:pt idx="356">
                  <c:v>39854</c:v>
                </c:pt>
                <c:pt idx="357">
                  <c:v>39855</c:v>
                </c:pt>
                <c:pt idx="358">
                  <c:v>39856</c:v>
                </c:pt>
                <c:pt idx="359">
                  <c:v>39857</c:v>
                </c:pt>
                <c:pt idx="360">
                  <c:v>39860</c:v>
                </c:pt>
                <c:pt idx="361">
                  <c:v>39861</c:v>
                </c:pt>
                <c:pt idx="362">
                  <c:v>39862</c:v>
                </c:pt>
                <c:pt idx="363">
                  <c:v>39863</c:v>
                </c:pt>
                <c:pt idx="364">
                  <c:v>39864</c:v>
                </c:pt>
                <c:pt idx="365">
                  <c:v>39867</c:v>
                </c:pt>
                <c:pt idx="366">
                  <c:v>39868</c:v>
                </c:pt>
                <c:pt idx="367">
                  <c:v>39869</c:v>
                </c:pt>
                <c:pt idx="368">
                  <c:v>39870</c:v>
                </c:pt>
                <c:pt idx="369">
                  <c:v>39871</c:v>
                </c:pt>
                <c:pt idx="370">
                  <c:v>39874</c:v>
                </c:pt>
                <c:pt idx="371">
                  <c:v>39875</c:v>
                </c:pt>
                <c:pt idx="372">
                  <c:v>39876</c:v>
                </c:pt>
                <c:pt idx="373">
                  <c:v>39877</c:v>
                </c:pt>
                <c:pt idx="374">
                  <c:v>39878</c:v>
                </c:pt>
                <c:pt idx="375">
                  <c:v>39881</c:v>
                </c:pt>
                <c:pt idx="376">
                  <c:v>39882</c:v>
                </c:pt>
                <c:pt idx="377">
                  <c:v>39883</c:v>
                </c:pt>
                <c:pt idx="378">
                  <c:v>39884</c:v>
                </c:pt>
                <c:pt idx="379">
                  <c:v>39885</c:v>
                </c:pt>
                <c:pt idx="380">
                  <c:v>39888</c:v>
                </c:pt>
                <c:pt idx="381">
                  <c:v>39889</c:v>
                </c:pt>
                <c:pt idx="382">
                  <c:v>39890</c:v>
                </c:pt>
                <c:pt idx="383">
                  <c:v>39891</c:v>
                </c:pt>
                <c:pt idx="384">
                  <c:v>39892</c:v>
                </c:pt>
                <c:pt idx="385">
                  <c:v>39895</c:v>
                </c:pt>
                <c:pt idx="386">
                  <c:v>39896</c:v>
                </c:pt>
                <c:pt idx="387">
                  <c:v>39897</c:v>
                </c:pt>
                <c:pt idx="388">
                  <c:v>39898</c:v>
                </c:pt>
                <c:pt idx="389">
                  <c:v>39899</c:v>
                </c:pt>
                <c:pt idx="390">
                  <c:v>39902</c:v>
                </c:pt>
                <c:pt idx="391">
                  <c:v>39903</c:v>
                </c:pt>
                <c:pt idx="392">
                  <c:v>39904</c:v>
                </c:pt>
                <c:pt idx="393">
                  <c:v>39905</c:v>
                </c:pt>
                <c:pt idx="394">
                  <c:v>39906</c:v>
                </c:pt>
                <c:pt idx="395">
                  <c:v>39909</c:v>
                </c:pt>
                <c:pt idx="396">
                  <c:v>39910</c:v>
                </c:pt>
                <c:pt idx="397">
                  <c:v>39911</c:v>
                </c:pt>
                <c:pt idx="398">
                  <c:v>39912</c:v>
                </c:pt>
                <c:pt idx="399">
                  <c:v>39913</c:v>
                </c:pt>
                <c:pt idx="400">
                  <c:v>39916</c:v>
                </c:pt>
                <c:pt idx="401">
                  <c:v>39917</c:v>
                </c:pt>
                <c:pt idx="402">
                  <c:v>39918</c:v>
                </c:pt>
                <c:pt idx="403">
                  <c:v>39919</c:v>
                </c:pt>
                <c:pt idx="404">
                  <c:v>39920</c:v>
                </c:pt>
                <c:pt idx="405">
                  <c:v>39923</c:v>
                </c:pt>
                <c:pt idx="406">
                  <c:v>39924</c:v>
                </c:pt>
                <c:pt idx="407">
                  <c:v>39925</c:v>
                </c:pt>
                <c:pt idx="408">
                  <c:v>39926</c:v>
                </c:pt>
                <c:pt idx="409">
                  <c:v>39927</c:v>
                </c:pt>
                <c:pt idx="410">
                  <c:v>39930</c:v>
                </c:pt>
                <c:pt idx="411">
                  <c:v>39931</c:v>
                </c:pt>
                <c:pt idx="412">
                  <c:v>39932</c:v>
                </c:pt>
                <c:pt idx="413">
                  <c:v>39933</c:v>
                </c:pt>
                <c:pt idx="414">
                  <c:v>39934</c:v>
                </c:pt>
                <c:pt idx="415">
                  <c:v>39937</c:v>
                </c:pt>
                <c:pt idx="416">
                  <c:v>39938</c:v>
                </c:pt>
                <c:pt idx="417">
                  <c:v>39939</c:v>
                </c:pt>
                <c:pt idx="418">
                  <c:v>39940</c:v>
                </c:pt>
                <c:pt idx="419">
                  <c:v>39941</c:v>
                </c:pt>
                <c:pt idx="420">
                  <c:v>39944</c:v>
                </c:pt>
                <c:pt idx="421">
                  <c:v>39945</c:v>
                </c:pt>
                <c:pt idx="422">
                  <c:v>39946</c:v>
                </c:pt>
                <c:pt idx="423">
                  <c:v>39947</c:v>
                </c:pt>
                <c:pt idx="424">
                  <c:v>39948</c:v>
                </c:pt>
                <c:pt idx="425">
                  <c:v>39951</c:v>
                </c:pt>
                <c:pt idx="426">
                  <c:v>39952</c:v>
                </c:pt>
                <c:pt idx="427">
                  <c:v>39953</c:v>
                </c:pt>
                <c:pt idx="428">
                  <c:v>39954</c:v>
                </c:pt>
                <c:pt idx="429">
                  <c:v>39955</c:v>
                </c:pt>
                <c:pt idx="430">
                  <c:v>39958</c:v>
                </c:pt>
                <c:pt idx="431">
                  <c:v>39959</c:v>
                </c:pt>
                <c:pt idx="432">
                  <c:v>39960</c:v>
                </c:pt>
                <c:pt idx="433">
                  <c:v>39961</c:v>
                </c:pt>
                <c:pt idx="434">
                  <c:v>39962</c:v>
                </c:pt>
                <c:pt idx="435">
                  <c:v>39965</c:v>
                </c:pt>
                <c:pt idx="436">
                  <c:v>39966</c:v>
                </c:pt>
                <c:pt idx="437">
                  <c:v>39967</c:v>
                </c:pt>
                <c:pt idx="438">
                  <c:v>39968</c:v>
                </c:pt>
                <c:pt idx="439">
                  <c:v>39969</c:v>
                </c:pt>
                <c:pt idx="440">
                  <c:v>39972</c:v>
                </c:pt>
                <c:pt idx="441">
                  <c:v>39973</c:v>
                </c:pt>
                <c:pt idx="442">
                  <c:v>39974</c:v>
                </c:pt>
                <c:pt idx="443">
                  <c:v>39975</c:v>
                </c:pt>
                <c:pt idx="444">
                  <c:v>39976</c:v>
                </c:pt>
                <c:pt idx="445">
                  <c:v>39979</c:v>
                </c:pt>
                <c:pt idx="446">
                  <c:v>39980</c:v>
                </c:pt>
                <c:pt idx="447">
                  <c:v>39981</c:v>
                </c:pt>
                <c:pt idx="448">
                  <c:v>39982</c:v>
                </c:pt>
                <c:pt idx="449">
                  <c:v>39983</c:v>
                </c:pt>
                <c:pt idx="450">
                  <c:v>39986</c:v>
                </c:pt>
                <c:pt idx="451">
                  <c:v>39987</c:v>
                </c:pt>
                <c:pt idx="452">
                  <c:v>39988</c:v>
                </c:pt>
                <c:pt idx="453">
                  <c:v>39989</c:v>
                </c:pt>
                <c:pt idx="454">
                  <c:v>39990</c:v>
                </c:pt>
                <c:pt idx="455">
                  <c:v>39993</c:v>
                </c:pt>
                <c:pt idx="456">
                  <c:v>39994</c:v>
                </c:pt>
                <c:pt idx="457">
                  <c:v>39995</c:v>
                </c:pt>
                <c:pt idx="458">
                  <c:v>39996</c:v>
                </c:pt>
                <c:pt idx="459">
                  <c:v>39997</c:v>
                </c:pt>
                <c:pt idx="460">
                  <c:v>40000</c:v>
                </c:pt>
                <c:pt idx="461">
                  <c:v>40001</c:v>
                </c:pt>
                <c:pt idx="462">
                  <c:v>40002</c:v>
                </c:pt>
                <c:pt idx="463">
                  <c:v>40003</c:v>
                </c:pt>
                <c:pt idx="464">
                  <c:v>40004</c:v>
                </c:pt>
                <c:pt idx="465">
                  <c:v>40007</c:v>
                </c:pt>
                <c:pt idx="466">
                  <c:v>40008</c:v>
                </c:pt>
                <c:pt idx="467">
                  <c:v>40009</c:v>
                </c:pt>
                <c:pt idx="468">
                  <c:v>40010</c:v>
                </c:pt>
                <c:pt idx="469">
                  <c:v>40011</c:v>
                </c:pt>
                <c:pt idx="470">
                  <c:v>40014</c:v>
                </c:pt>
                <c:pt idx="471">
                  <c:v>40015</c:v>
                </c:pt>
                <c:pt idx="472">
                  <c:v>40016</c:v>
                </c:pt>
                <c:pt idx="473">
                  <c:v>40017</c:v>
                </c:pt>
                <c:pt idx="474">
                  <c:v>40018</c:v>
                </c:pt>
                <c:pt idx="475">
                  <c:v>40021</c:v>
                </c:pt>
                <c:pt idx="476">
                  <c:v>40022</c:v>
                </c:pt>
                <c:pt idx="477">
                  <c:v>40023</c:v>
                </c:pt>
                <c:pt idx="478">
                  <c:v>40024</c:v>
                </c:pt>
                <c:pt idx="479">
                  <c:v>40025</c:v>
                </c:pt>
                <c:pt idx="480">
                  <c:v>40028</c:v>
                </c:pt>
                <c:pt idx="481">
                  <c:v>40029</c:v>
                </c:pt>
                <c:pt idx="482">
                  <c:v>40030</c:v>
                </c:pt>
                <c:pt idx="483">
                  <c:v>40031</c:v>
                </c:pt>
                <c:pt idx="484">
                  <c:v>40032</c:v>
                </c:pt>
                <c:pt idx="485">
                  <c:v>40035</c:v>
                </c:pt>
                <c:pt idx="486">
                  <c:v>40036</c:v>
                </c:pt>
                <c:pt idx="487">
                  <c:v>40037</c:v>
                </c:pt>
                <c:pt idx="488">
                  <c:v>40038</c:v>
                </c:pt>
                <c:pt idx="489">
                  <c:v>40039</c:v>
                </c:pt>
                <c:pt idx="490">
                  <c:v>40042</c:v>
                </c:pt>
                <c:pt idx="491">
                  <c:v>40043</c:v>
                </c:pt>
                <c:pt idx="492">
                  <c:v>40044</c:v>
                </c:pt>
                <c:pt idx="493">
                  <c:v>40045</c:v>
                </c:pt>
                <c:pt idx="494">
                  <c:v>40046</c:v>
                </c:pt>
                <c:pt idx="495">
                  <c:v>40049</c:v>
                </c:pt>
                <c:pt idx="496">
                  <c:v>40050</c:v>
                </c:pt>
                <c:pt idx="497">
                  <c:v>40051</c:v>
                </c:pt>
                <c:pt idx="498">
                  <c:v>40052</c:v>
                </c:pt>
                <c:pt idx="499">
                  <c:v>40053</c:v>
                </c:pt>
                <c:pt idx="500">
                  <c:v>40056</c:v>
                </c:pt>
                <c:pt idx="501">
                  <c:v>40057</c:v>
                </c:pt>
                <c:pt idx="502">
                  <c:v>40058</c:v>
                </c:pt>
                <c:pt idx="503">
                  <c:v>40059</c:v>
                </c:pt>
                <c:pt idx="504">
                  <c:v>40060</c:v>
                </c:pt>
                <c:pt idx="505">
                  <c:v>40063</c:v>
                </c:pt>
                <c:pt idx="506">
                  <c:v>40064</c:v>
                </c:pt>
                <c:pt idx="507">
                  <c:v>40065</c:v>
                </c:pt>
                <c:pt idx="508">
                  <c:v>40066</c:v>
                </c:pt>
                <c:pt idx="509">
                  <c:v>40067</c:v>
                </c:pt>
                <c:pt idx="510">
                  <c:v>40070</c:v>
                </c:pt>
                <c:pt idx="511">
                  <c:v>40071</c:v>
                </c:pt>
                <c:pt idx="512">
                  <c:v>40072</c:v>
                </c:pt>
                <c:pt idx="513">
                  <c:v>40073</c:v>
                </c:pt>
                <c:pt idx="514">
                  <c:v>40074</c:v>
                </c:pt>
                <c:pt idx="515">
                  <c:v>40077</c:v>
                </c:pt>
                <c:pt idx="516">
                  <c:v>40078</c:v>
                </c:pt>
                <c:pt idx="517">
                  <c:v>40079</c:v>
                </c:pt>
                <c:pt idx="518">
                  <c:v>40080</c:v>
                </c:pt>
                <c:pt idx="519">
                  <c:v>40081</c:v>
                </c:pt>
                <c:pt idx="520">
                  <c:v>40084</c:v>
                </c:pt>
                <c:pt idx="521">
                  <c:v>40085</c:v>
                </c:pt>
                <c:pt idx="522">
                  <c:v>40086</c:v>
                </c:pt>
                <c:pt idx="523">
                  <c:v>40087</c:v>
                </c:pt>
                <c:pt idx="524">
                  <c:v>40088</c:v>
                </c:pt>
                <c:pt idx="525">
                  <c:v>40091</c:v>
                </c:pt>
                <c:pt idx="526">
                  <c:v>40092</c:v>
                </c:pt>
                <c:pt idx="527">
                  <c:v>40093</c:v>
                </c:pt>
                <c:pt idx="528">
                  <c:v>40094</c:v>
                </c:pt>
                <c:pt idx="529">
                  <c:v>40095</c:v>
                </c:pt>
                <c:pt idx="530">
                  <c:v>40098</c:v>
                </c:pt>
                <c:pt idx="531">
                  <c:v>40099</c:v>
                </c:pt>
                <c:pt idx="532">
                  <c:v>40100</c:v>
                </c:pt>
                <c:pt idx="533">
                  <c:v>40101</c:v>
                </c:pt>
                <c:pt idx="534">
                  <c:v>40102</c:v>
                </c:pt>
                <c:pt idx="535">
                  <c:v>40105</c:v>
                </c:pt>
                <c:pt idx="536">
                  <c:v>40106</c:v>
                </c:pt>
                <c:pt idx="537">
                  <c:v>40107</c:v>
                </c:pt>
                <c:pt idx="538">
                  <c:v>40108</c:v>
                </c:pt>
                <c:pt idx="539">
                  <c:v>40109</c:v>
                </c:pt>
                <c:pt idx="540">
                  <c:v>40112</c:v>
                </c:pt>
                <c:pt idx="541">
                  <c:v>40113</c:v>
                </c:pt>
                <c:pt idx="542">
                  <c:v>40114</c:v>
                </c:pt>
                <c:pt idx="543">
                  <c:v>40115</c:v>
                </c:pt>
                <c:pt idx="544">
                  <c:v>40116</c:v>
                </c:pt>
                <c:pt idx="545">
                  <c:v>40119</c:v>
                </c:pt>
                <c:pt idx="546">
                  <c:v>40120</c:v>
                </c:pt>
                <c:pt idx="547">
                  <c:v>40121</c:v>
                </c:pt>
                <c:pt idx="548">
                  <c:v>40122</c:v>
                </c:pt>
                <c:pt idx="549">
                  <c:v>40123</c:v>
                </c:pt>
                <c:pt idx="550">
                  <c:v>40126</c:v>
                </c:pt>
                <c:pt idx="551">
                  <c:v>40127</c:v>
                </c:pt>
                <c:pt idx="552">
                  <c:v>40128</c:v>
                </c:pt>
                <c:pt idx="553">
                  <c:v>40129</c:v>
                </c:pt>
                <c:pt idx="554">
                  <c:v>40130</c:v>
                </c:pt>
                <c:pt idx="555">
                  <c:v>40133</c:v>
                </c:pt>
                <c:pt idx="556">
                  <c:v>40134</c:v>
                </c:pt>
                <c:pt idx="557">
                  <c:v>40135</c:v>
                </c:pt>
                <c:pt idx="558">
                  <c:v>40136</c:v>
                </c:pt>
                <c:pt idx="559">
                  <c:v>40137</c:v>
                </c:pt>
                <c:pt idx="560">
                  <c:v>40140</c:v>
                </c:pt>
                <c:pt idx="561">
                  <c:v>40141</c:v>
                </c:pt>
                <c:pt idx="562">
                  <c:v>40142</c:v>
                </c:pt>
                <c:pt idx="563">
                  <c:v>40143</c:v>
                </c:pt>
                <c:pt idx="564">
                  <c:v>40144</c:v>
                </c:pt>
                <c:pt idx="565">
                  <c:v>40147</c:v>
                </c:pt>
                <c:pt idx="566">
                  <c:v>40148</c:v>
                </c:pt>
                <c:pt idx="567">
                  <c:v>40149</c:v>
                </c:pt>
                <c:pt idx="568">
                  <c:v>40150</c:v>
                </c:pt>
                <c:pt idx="569">
                  <c:v>40151</c:v>
                </c:pt>
                <c:pt idx="570">
                  <c:v>40154</c:v>
                </c:pt>
                <c:pt idx="571">
                  <c:v>40155</c:v>
                </c:pt>
                <c:pt idx="572">
                  <c:v>40156</c:v>
                </c:pt>
                <c:pt idx="573">
                  <c:v>40157</c:v>
                </c:pt>
                <c:pt idx="574">
                  <c:v>40158</c:v>
                </c:pt>
                <c:pt idx="575">
                  <c:v>40161</c:v>
                </c:pt>
                <c:pt idx="576">
                  <c:v>40162</c:v>
                </c:pt>
                <c:pt idx="577">
                  <c:v>40163</c:v>
                </c:pt>
                <c:pt idx="578">
                  <c:v>40164</c:v>
                </c:pt>
                <c:pt idx="579">
                  <c:v>40165</c:v>
                </c:pt>
                <c:pt idx="580">
                  <c:v>40168</c:v>
                </c:pt>
                <c:pt idx="581">
                  <c:v>40169</c:v>
                </c:pt>
                <c:pt idx="582">
                  <c:v>40170</c:v>
                </c:pt>
                <c:pt idx="583">
                  <c:v>40171</c:v>
                </c:pt>
                <c:pt idx="584">
                  <c:v>40172</c:v>
                </c:pt>
                <c:pt idx="585">
                  <c:v>40175</c:v>
                </c:pt>
                <c:pt idx="586">
                  <c:v>40176</c:v>
                </c:pt>
                <c:pt idx="587">
                  <c:v>40177</c:v>
                </c:pt>
                <c:pt idx="588">
                  <c:v>40178</c:v>
                </c:pt>
                <c:pt idx="589">
                  <c:v>40179</c:v>
                </c:pt>
                <c:pt idx="590">
                  <c:v>40182</c:v>
                </c:pt>
                <c:pt idx="591">
                  <c:v>40183</c:v>
                </c:pt>
                <c:pt idx="592">
                  <c:v>40184</c:v>
                </c:pt>
                <c:pt idx="593">
                  <c:v>40185</c:v>
                </c:pt>
                <c:pt idx="594">
                  <c:v>40186</c:v>
                </c:pt>
                <c:pt idx="595">
                  <c:v>40189</c:v>
                </c:pt>
                <c:pt idx="596">
                  <c:v>40190</c:v>
                </c:pt>
                <c:pt idx="597">
                  <c:v>40191</c:v>
                </c:pt>
                <c:pt idx="598">
                  <c:v>40192</c:v>
                </c:pt>
                <c:pt idx="599">
                  <c:v>40193</c:v>
                </c:pt>
                <c:pt idx="600">
                  <c:v>40196</c:v>
                </c:pt>
                <c:pt idx="601">
                  <c:v>40197</c:v>
                </c:pt>
                <c:pt idx="602">
                  <c:v>40198</c:v>
                </c:pt>
                <c:pt idx="603">
                  <c:v>40199</c:v>
                </c:pt>
                <c:pt idx="604">
                  <c:v>40200</c:v>
                </c:pt>
                <c:pt idx="605">
                  <c:v>40203</c:v>
                </c:pt>
                <c:pt idx="606">
                  <c:v>40204</c:v>
                </c:pt>
                <c:pt idx="607">
                  <c:v>40205</c:v>
                </c:pt>
                <c:pt idx="608">
                  <c:v>40206</c:v>
                </c:pt>
                <c:pt idx="609">
                  <c:v>40207</c:v>
                </c:pt>
                <c:pt idx="610">
                  <c:v>40210</c:v>
                </c:pt>
                <c:pt idx="611">
                  <c:v>40211</c:v>
                </c:pt>
                <c:pt idx="612">
                  <c:v>40212</c:v>
                </c:pt>
                <c:pt idx="613">
                  <c:v>40213</c:v>
                </c:pt>
                <c:pt idx="614">
                  <c:v>40214</c:v>
                </c:pt>
                <c:pt idx="615">
                  <c:v>40217</c:v>
                </c:pt>
                <c:pt idx="616">
                  <c:v>40218</c:v>
                </c:pt>
                <c:pt idx="617">
                  <c:v>40219</c:v>
                </c:pt>
                <c:pt idx="618">
                  <c:v>40220</c:v>
                </c:pt>
                <c:pt idx="619">
                  <c:v>40221</c:v>
                </c:pt>
                <c:pt idx="620">
                  <c:v>40224</c:v>
                </c:pt>
                <c:pt idx="621">
                  <c:v>40225</c:v>
                </c:pt>
                <c:pt idx="622">
                  <c:v>40226</c:v>
                </c:pt>
                <c:pt idx="623">
                  <c:v>40227</c:v>
                </c:pt>
                <c:pt idx="624">
                  <c:v>40228</c:v>
                </c:pt>
                <c:pt idx="625">
                  <c:v>40231</c:v>
                </c:pt>
                <c:pt idx="626">
                  <c:v>40232</c:v>
                </c:pt>
                <c:pt idx="627">
                  <c:v>40233</c:v>
                </c:pt>
                <c:pt idx="628">
                  <c:v>40234</c:v>
                </c:pt>
                <c:pt idx="629">
                  <c:v>40235</c:v>
                </c:pt>
                <c:pt idx="630">
                  <c:v>40238</c:v>
                </c:pt>
                <c:pt idx="631">
                  <c:v>40239</c:v>
                </c:pt>
                <c:pt idx="632">
                  <c:v>40240</c:v>
                </c:pt>
                <c:pt idx="633">
                  <c:v>40241</c:v>
                </c:pt>
                <c:pt idx="634">
                  <c:v>40242</c:v>
                </c:pt>
                <c:pt idx="635">
                  <c:v>40245</c:v>
                </c:pt>
                <c:pt idx="636">
                  <c:v>40246</c:v>
                </c:pt>
                <c:pt idx="637">
                  <c:v>40247</c:v>
                </c:pt>
                <c:pt idx="638">
                  <c:v>40248</c:v>
                </c:pt>
                <c:pt idx="639">
                  <c:v>40249</c:v>
                </c:pt>
                <c:pt idx="640">
                  <c:v>40252</c:v>
                </c:pt>
                <c:pt idx="641">
                  <c:v>40253</c:v>
                </c:pt>
                <c:pt idx="642">
                  <c:v>40254</c:v>
                </c:pt>
                <c:pt idx="643">
                  <c:v>40255</c:v>
                </c:pt>
                <c:pt idx="644">
                  <c:v>40256</c:v>
                </c:pt>
                <c:pt idx="645">
                  <c:v>40259</c:v>
                </c:pt>
                <c:pt idx="646">
                  <c:v>40260</c:v>
                </c:pt>
                <c:pt idx="647">
                  <c:v>40261</c:v>
                </c:pt>
                <c:pt idx="648">
                  <c:v>40262</c:v>
                </c:pt>
                <c:pt idx="649">
                  <c:v>40263</c:v>
                </c:pt>
                <c:pt idx="650">
                  <c:v>40266</c:v>
                </c:pt>
                <c:pt idx="651">
                  <c:v>40267</c:v>
                </c:pt>
                <c:pt idx="652">
                  <c:v>40268</c:v>
                </c:pt>
                <c:pt idx="653">
                  <c:v>40269</c:v>
                </c:pt>
                <c:pt idx="654">
                  <c:v>40270</c:v>
                </c:pt>
                <c:pt idx="655">
                  <c:v>40273</c:v>
                </c:pt>
                <c:pt idx="656">
                  <c:v>40274</c:v>
                </c:pt>
                <c:pt idx="657">
                  <c:v>40275</c:v>
                </c:pt>
                <c:pt idx="658">
                  <c:v>40276</c:v>
                </c:pt>
                <c:pt idx="659">
                  <c:v>40277</c:v>
                </c:pt>
                <c:pt idx="660">
                  <c:v>40280</c:v>
                </c:pt>
                <c:pt idx="661">
                  <c:v>40281</c:v>
                </c:pt>
                <c:pt idx="662">
                  <c:v>40282</c:v>
                </c:pt>
                <c:pt idx="663">
                  <c:v>40283</c:v>
                </c:pt>
                <c:pt idx="664">
                  <c:v>40284</c:v>
                </c:pt>
                <c:pt idx="665">
                  <c:v>40287</c:v>
                </c:pt>
                <c:pt idx="666">
                  <c:v>40288</c:v>
                </c:pt>
                <c:pt idx="667">
                  <c:v>40289</c:v>
                </c:pt>
                <c:pt idx="668">
                  <c:v>40290</c:v>
                </c:pt>
                <c:pt idx="669">
                  <c:v>40291</c:v>
                </c:pt>
                <c:pt idx="670">
                  <c:v>40294</c:v>
                </c:pt>
                <c:pt idx="671">
                  <c:v>40295</c:v>
                </c:pt>
                <c:pt idx="672">
                  <c:v>40296</c:v>
                </c:pt>
                <c:pt idx="673">
                  <c:v>40297</c:v>
                </c:pt>
                <c:pt idx="674">
                  <c:v>40298</c:v>
                </c:pt>
                <c:pt idx="675">
                  <c:v>40301</c:v>
                </c:pt>
                <c:pt idx="676">
                  <c:v>40302</c:v>
                </c:pt>
                <c:pt idx="677">
                  <c:v>40303</c:v>
                </c:pt>
                <c:pt idx="678">
                  <c:v>40304</c:v>
                </c:pt>
                <c:pt idx="679">
                  <c:v>40305</c:v>
                </c:pt>
                <c:pt idx="680">
                  <c:v>40308</c:v>
                </c:pt>
                <c:pt idx="681">
                  <c:v>40309</c:v>
                </c:pt>
                <c:pt idx="682">
                  <c:v>40310</c:v>
                </c:pt>
                <c:pt idx="683">
                  <c:v>40311</c:v>
                </c:pt>
                <c:pt idx="684">
                  <c:v>40312</c:v>
                </c:pt>
                <c:pt idx="685">
                  <c:v>40315</c:v>
                </c:pt>
                <c:pt idx="686">
                  <c:v>40316</c:v>
                </c:pt>
                <c:pt idx="687">
                  <c:v>40317</c:v>
                </c:pt>
                <c:pt idx="688">
                  <c:v>40318</c:v>
                </c:pt>
                <c:pt idx="689">
                  <c:v>40319</c:v>
                </c:pt>
                <c:pt idx="690">
                  <c:v>40322</c:v>
                </c:pt>
                <c:pt idx="691">
                  <c:v>40323</c:v>
                </c:pt>
                <c:pt idx="692">
                  <c:v>40324</c:v>
                </c:pt>
                <c:pt idx="693">
                  <c:v>40325</c:v>
                </c:pt>
                <c:pt idx="694">
                  <c:v>40326</c:v>
                </c:pt>
                <c:pt idx="695">
                  <c:v>40329</c:v>
                </c:pt>
                <c:pt idx="696">
                  <c:v>40330</c:v>
                </c:pt>
                <c:pt idx="697">
                  <c:v>40331</c:v>
                </c:pt>
                <c:pt idx="698">
                  <c:v>40332</c:v>
                </c:pt>
                <c:pt idx="699">
                  <c:v>40333</c:v>
                </c:pt>
                <c:pt idx="700">
                  <c:v>40336</c:v>
                </c:pt>
                <c:pt idx="701">
                  <c:v>40337</c:v>
                </c:pt>
                <c:pt idx="702">
                  <c:v>40338</c:v>
                </c:pt>
                <c:pt idx="703">
                  <c:v>40339</c:v>
                </c:pt>
                <c:pt idx="704">
                  <c:v>40340</c:v>
                </c:pt>
                <c:pt idx="705">
                  <c:v>40343</c:v>
                </c:pt>
                <c:pt idx="706">
                  <c:v>40344</c:v>
                </c:pt>
                <c:pt idx="707">
                  <c:v>40345</c:v>
                </c:pt>
                <c:pt idx="708">
                  <c:v>40346</c:v>
                </c:pt>
                <c:pt idx="709">
                  <c:v>40347</c:v>
                </c:pt>
                <c:pt idx="710">
                  <c:v>40350</c:v>
                </c:pt>
                <c:pt idx="711">
                  <c:v>40351</c:v>
                </c:pt>
                <c:pt idx="712">
                  <c:v>40352</c:v>
                </c:pt>
                <c:pt idx="713">
                  <c:v>40353</c:v>
                </c:pt>
                <c:pt idx="714">
                  <c:v>40354</c:v>
                </c:pt>
                <c:pt idx="715">
                  <c:v>40357</c:v>
                </c:pt>
                <c:pt idx="716">
                  <c:v>40358</c:v>
                </c:pt>
                <c:pt idx="717">
                  <c:v>40359</c:v>
                </c:pt>
                <c:pt idx="718">
                  <c:v>40360</c:v>
                </c:pt>
                <c:pt idx="719">
                  <c:v>40361</c:v>
                </c:pt>
                <c:pt idx="720">
                  <c:v>40364</c:v>
                </c:pt>
                <c:pt idx="721">
                  <c:v>40365</c:v>
                </c:pt>
                <c:pt idx="722">
                  <c:v>40366</c:v>
                </c:pt>
                <c:pt idx="723">
                  <c:v>40367</c:v>
                </c:pt>
                <c:pt idx="724">
                  <c:v>40368</c:v>
                </c:pt>
                <c:pt idx="725">
                  <c:v>40371</c:v>
                </c:pt>
                <c:pt idx="726">
                  <c:v>40372</c:v>
                </c:pt>
                <c:pt idx="727">
                  <c:v>40373</c:v>
                </c:pt>
                <c:pt idx="728">
                  <c:v>40374</c:v>
                </c:pt>
                <c:pt idx="729">
                  <c:v>40375</c:v>
                </c:pt>
                <c:pt idx="730">
                  <c:v>40378</c:v>
                </c:pt>
                <c:pt idx="731">
                  <c:v>40379</c:v>
                </c:pt>
                <c:pt idx="732">
                  <c:v>40380</c:v>
                </c:pt>
                <c:pt idx="733">
                  <c:v>40381</c:v>
                </c:pt>
                <c:pt idx="734">
                  <c:v>40382</c:v>
                </c:pt>
                <c:pt idx="735">
                  <c:v>40385</c:v>
                </c:pt>
                <c:pt idx="736">
                  <c:v>40386</c:v>
                </c:pt>
                <c:pt idx="737">
                  <c:v>40387</c:v>
                </c:pt>
                <c:pt idx="738">
                  <c:v>40388</c:v>
                </c:pt>
                <c:pt idx="739">
                  <c:v>40389</c:v>
                </c:pt>
                <c:pt idx="740">
                  <c:v>40392</c:v>
                </c:pt>
                <c:pt idx="741">
                  <c:v>40393</c:v>
                </c:pt>
                <c:pt idx="742">
                  <c:v>40394</c:v>
                </c:pt>
                <c:pt idx="743">
                  <c:v>40395</c:v>
                </c:pt>
                <c:pt idx="744">
                  <c:v>40396</c:v>
                </c:pt>
                <c:pt idx="745">
                  <c:v>40399</c:v>
                </c:pt>
                <c:pt idx="746">
                  <c:v>40400</c:v>
                </c:pt>
                <c:pt idx="747">
                  <c:v>40401</c:v>
                </c:pt>
                <c:pt idx="748">
                  <c:v>40402</c:v>
                </c:pt>
                <c:pt idx="749">
                  <c:v>40403</c:v>
                </c:pt>
                <c:pt idx="750">
                  <c:v>40406</c:v>
                </c:pt>
                <c:pt idx="751">
                  <c:v>40407</c:v>
                </c:pt>
                <c:pt idx="752">
                  <c:v>40408</c:v>
                </c:pt>
                <c:pt idx="753">
                  <c:v>40409</c:v>
                </c:pt>
                <c:pt idx="754">
                  <c:v>40410</c:v>
                </c:pt>
                <c:pt idx="755">
                  <c:v>40413</c:v>
                </c:pt>
                <c:pt idx="756">
                  <c:v>40414</c:v>
                </c:pt>
                <c:pt idx="757">
                  <c:v>40415</c:v>
                </c:pt>
                <c:pt idx="758">
                  <c:v>40416</c:v>
                </c:pt>
                <c:pt idx="759">
                  <c:v>40417</c:v>
                </c:pt>
                <c:pt idx="760">
                  <c:v>40420</c:v>
                </c:pt>
                <c:pt idx="761">
                  <c:v>40421</c:v>
                </c:pt>
                <c:pt idx="762">
                  <c:v>40422</c:v>
                </c:pt>
                <c:pt idx="763">
                  <c:v>40423</c:v>
                </c:pt>
                <c:pt idx="764">
                  <c:v>40424</c:v>
                </c:pt>
                <c:pt idx="765">
                  <c:v>40427</c:v>
                </c:pt>
                <c:pt idx="766">
                  <c:v>40428</c:v>
                </c:pt>
                <c:pt idx="767">
                  <c:v>40429</c:v>
                </c:pt>
                <c:pt idx="768">
                  <c:v>40430</c:v>
                </c:pt>
                <c:pt idx="769">
                  <c:v>40431</c:v>
                </c:pt>
                <c:pt idx="770">
                  <c:v>40434</c:v>
                </c:pt>
                <c:pt idx="771">
                  <c:v>40435</c:v>
                </c:pt>
                <c:pt idx="772">
                  <c:v>40436</c:v>
                </c:pt>
                <c:pt idx="773">
                  <c:v>40437</c:v>
                </c:pt>
                <c:pt idx="774">
                  <c:v>40438</c:v>
                </c:pt>
                <c:pt idx="775">
                  <c:v>40441</c:v>
                </c:pt>
                <c:pt idx="776">
                  <c:v>40442</c:v>
                </c:pt>
                <c:pt idx="777">
                  <c:v>40443</c:v>
                </c:pt>
                <c:pt idx="778">
                  <c:v>40444</c:v>
                </c:pt>
                <c:pt idx="779">
                  <c:v>40445</c:v>
                </c:pt>
                <c:pt idx="780">
                  <c:v>40448</c:v>
                </c:pt>
                <c:pt idx="781">
                  <c:v>40449</c:v>
                </c:pt>
                <c:pt idx="782">
                  <c:v>40450</c:v>
                </c:pt>
                <c:pt idx="783">
                  <c:v>40451</c:v>
                </c:pt>
                <c:pt idx="784">
                  <c:v>40452</c:v>
                </c:pt>
                <c:pt idx="785">
                  <c:v>40455</c:v>
                </c:pt>
                <c:pt idx="786">
                  <c:v>40456</c:v>
                </c:pt>
                <c:pt idx="787">
                  <c:v>40457</c:v>
                </c:pt>
                <c:pt idx="788">
                  <c:v>40458</c:v>
                </c:pt>
                <c:pt idx="789">
                  <c:v>40459</c:v>
                </c:pt>
                <c:pt idx="790">
                  <c:v>40462</c:v>
                </c:pt>
                <c:pt idx="791">
                  <c:v>40463</c:v>
                </c:pt>
                <c:pt idx="792">
                  <c:v>40464</c:v>
                </c:pt>
                <c:pt idx="793">
                  <c:v>40465</c:v>
                </c:pt>
                <c:pt idx="794">
                  <c:v>40466</c:v>
                </c:pt>
                <c:pt idx="795">
                  <c:v>40469</c:v>
                </c:pt>
                <c:pt idx="796">
                  <c:v>40470</c:v>
                </c:pt>
                <c:pt idx="797">
                  <c:v>40471</c:v>
                </c:pt>
                <c:pt idx="798">
                  <c:v>40472</c:v>
                </c:pt>
                <c:pt idx="799">
                  <c:v>40473</c:v>
                </c:pt>
                <c:pt idx="800">
                  <c:v>40476</c:v>
                </c:pt>
                <c:pt idx="801">
                  <c:v>40477</c:v>
                </c:pt>
                <c:pt idx="802">
                  <c:v>40478</c:v>
                </c:pt>
                <c:pt idx="803">
                  <c:v>40479</c:v>
                </c:pt>
                <c:pt idx="804">
                  <c:v>40480</c:v>
                </c:pt>
                <c:pt idx="805">
                  <c:v>40483</c:v>
                </c:pt>
                <c:pt idx="806">
                  <c:v>40484</c:v>
                </c:pt>
                <c:pt idx="807">
                  <c:v>40485</c:v>
                </c:pt>
                <c:pt idx="808">
                  <c:v>40486</c:v>
                </c:pt>
                <c:pt idx="809">
                  <c:v>40487</c:v>
                </c:pt>
                <c:pt idx="810">
                  <c:v>40490</c:v>
                </c:pt>
                <c:pt idx="811">
                  <c:v>40491</c:v>
                </c:pt>
                <c:pt idx="812">
                  <c:v>40492</c:v>
                </c:pt>
                <c:pt idx="813">
                  <c:v>40493</c:v>
                </c:pt>
                <c:pt idx="814">
                  <c:v>40494</c:v>
                </c:pt>
                <c:pt idx="815">
                  <c:v>40497</c:v>
                </c:pt>
                <c:pt idx="816">
                  <c:v>40498</c:v>
                </c:pt>
                <c:pt idx="817">
                  <c:v>40499</c:v>
                </c:pt>
                <c:pt idx="818">
                  <c:v>40500</c:v>
                </c:pt>
                <c:pt idx="819">
                  <c:v>40501</c:v>
                </c:pt>
                <c:pt idx="820">
                  <c:v>40504</c:v>
                </c:pt>
                <c:pt idx="821">
                  <c:v>40505</c:v>
                </c:pt>
                <c:pt idx="822">
                  <c:v>40506</c:v>
                </c:pt>
                <c:pt idx="823">
                  <c:v>40507</c:v>
                </c:pt>
                <c:pt idx="824">
                  <c:v>40508</c:v>
                </c:pt>
                <c:pt idx="825">
                  <c:v>40511</c:v>
                </c:pt>
                <c:pt idx="826">
                  <c:v>40512</c:v>
                </c:pt>
                <c:pt idx="827">
                  <c:v>40513</c:v>
                </c:pt>
                <c:pt idx="828">
                  <c:v>40514</c:v>
                </c:pt>
                <c:pt idx="829">
                  <c:v>40515</c:v>
                </c:pt>
                <c:pt idx="830">
                  <c:v>40518</c:v>
                </c:pt>
                <c:pt idx="831">
                  <c:v>40519</c:v>
                </c:pt>
                <c:pt idx="832">
                  <c:v>40520</c:v>
                </c:pt>
                <c:pt idx="833">
                  <c:v>40521</c:v>
                </c:pt>
                <c:pt idx="834">
                  <c:v>40522</c:v>
                </c:pt>
                <c:pt idx="835">
                  <c:v>40525</c:v>
                </c:pt>
                <c:pt idx="836">
                  <c:v>40526</c:v>
                </c:pt>
                <c:pt idx="837">
                  <c:v>40527</c:v>
                </c:pt>
                <c:pt idx="838">
                  <c:v>40528</c:v>
                </c:pt>
                <c:pt idx="839">
                  <c:v>40529</c:v>
                </c:pt>
                <c:pt idx="840">
                  <c:v>40532</c:v>
                </c:pt>
                <c:pt idx="841">
                  <c:v>40533</c:v>
                </c:pt>
                <c:pt idx="842">
                  <c:v>40534</c:v>
                </c:pt>
                <c:pt idx="843">
                  <c:v>40535</c:v>
                </c:pt>
                <c:pt idx="844">
                  <c:v>40536</c:v>
                </c:pt>
                <c:pt idx="845">
                  <c:v>40539</c:v>
                </c:pt>
                <c:pt idx="846">
                  <c:v>40540</c:v>
                </c:pt>
                <c:pt idx="847">
                  <c:v>40541</c:v>
                </c:pt>
                <c:pt idx="848">
                  <c:v>40542</c:v>
                </c:pt>
                <c:pt idx="849">
                  <c:v>40543</c:v>
                </c:pt>
                <c:pt idx="850">
                  <c:v>40546</c:v>
                </c:pt>
                <c:pt idx="851">
                  <c:v>40547</c:v>
                </c:pt>
                <c:pt idx="852">
                  <c:v>40548</c:v>
                </c:pt>
                <c:pt idx="853">
                  <c:v>40549</c:v>
                </c:pt>
                <c:pt idx="854">
                  <c:v>40550</c:v>
                </c:pt>
                <c:pt idx="855">
                  <c:v>40553</c:v>
                </c:pt>
                <c:pt idx="856">
                  <c:v>40554</c:v>
                </c:pt>
                <c:pt idx="857">
                  <c:v>40555</c:v>
                </c:pt>
                <c:pt idx="858">
                  <c:v>40556</c:v>
                </c:pt>
                <c:pt idx="859">
                  <c:v>40557</c:v>
                </c:pt>
                <c:pt idx="860">
                  <c:v>40560</c:v>
                </c:pt>
                <c:pt idx="861">
                  <c:v>40561</c:v>
                </c:pt>
                <c:pt idx="862">
                  <c:v>40562</c:v>
                </c:pt>
                <c:pt idx="863">
                  <c:v>40563</c:v>
                </c:pt>
                <c:pt idx="864">
                  <c:v>40564</c:v>
                </c:pt>
                <c:pt idx="865">
                  <c:v>40567</c:v>
                </c:pt>
                <c:pt idx="866">
                  <c:v>40568</c:v>
                </c:pt>
                <c:pt idx="867">
                  <c:v>40569</c:v>
                </c:pt>
                <c:pt idx="868">
                  <c:v>40570</c:v>
                </c:pt>
                <c:pt idx="869">
                  <c:v>40571</c:v>
                </c:pt>
                <c:pt idx="870">
                  <c:v>40574</c:v>
                </c:pt>
                <c:pt idx="871">
                  <c:v>40575</c:v>
                </c:pt>
                <c:pt idx="872">
                  <c:v>40576</c:v>
                </c:pt>
                <c:pt idx="873">
                  <c:v>40577</c:v>
                </c:pt>
                <c:pt idx="874">
                  <c:v>40578</c:v>
                </c:pt>
                <c:pt idx="875">
                  <c:v>40581</c:v>
                </c:pt>
                <c:pt idx="876">
                  <c:v>40582</c:v>
                </c:pt>
                <c:pt idx="877">
                  <c:v>40583</c:v>
                </c:pt>
                <c:pt idx="878">
                  <c:v>40584</c:v>
                </c:pt>
                <c:pt idx="879">
                  <c:v>40585</c:v>
                </c:pt>
                <c:pt idx="880">
                  <c:v>40588</c:v>
                </c:pt>
                <c:pt idx="881">
                  <c:v>40589</c:v>
                </c:pt>
                <c:pt idx="882">
                  <c:v>40590</c:v>
                </c:pt>
                <c:pt idx="883">
                  <c:v>40591</c:v>
                </c:pt>
                <c:pt idx="884">
                  <c:v>40592</c:v>
                </c:pt>
                <c:pt idx="885">
                  <c:v>40595</c:v>
                </c:pt>
                <c:pt idx="886">
                  <c:v>40596</c:v>
                </c:pt>
                <c:pt idx="887">
                  <c:v>40597</c:v>
                </c:pt>
                <c:pt idx="888">
                  <c:v>40598</c:v>
                </c:pt>
                <c:pt idx="889">
                  <c:v>40599</c:v>
                </c:pt>
                <c:pt idx="890">
                  <c:v>40602</c:v>
                </c:pt>
                <c:pt idx="891">
                  <c:v>40603</c:v>
                </c:pt>
                <c:pt idx="892">
                  <c:v>40604</c:v>
                </c:pt>
                <c:pt idx="893">
                  <c:v>40605</c:v>
                </c:pt>
                <c:pt idx="894">
                  <c:v>40606</c:v>
                </c:pt>
                <c:pt idx="895">
                  <c:v>40609</c:v>
                </c:pt>
                <c:pt idx="896">
                  <c:v>40610</c:v>
                </c:pt>
                <c:pt idx="897">
                  <c:v>40611</c:v>
                </c:pt>
                <c:pt idx="898">
                  <c:v>40612</c:v>
                </c:pt>
                <c:pt idx="899">
                  <c:v>40613</c:v>
                </c:pt>
                <c:pt idx="900">
                  <c:v>40616</c:v>
                </c:pt>
                <c:pt idx="901">
                  <c:v>40617</c:v>
                </c:pt>
                <c:pt idx="902">
                  <c:v>40618</c:v>
                </c:pt>
                <c:pt idx="903">
                  <c:v>40619</c:v>
                </c:pt>
                <c:pt idx="904">
                  <c:v>40620</c:v>
                </c:pt>
                <c:pt idx="905">
                  <c:v>40623</c:v>
                </c:pt>
                <c:pt idx="906">
                  <c:v>40624</c:v>
                </c:pt>
                <c:pt idx="907">
                  <c:v>40625</c:v>
                </c:pt>
                <c:pt idx="908">
                  <c:v>40626</c:v>
                </c:pt>
                <c:pt idx="909">
                  <c:v>40627</c:v>
                </c:pt>
                <c:pt idx="910">
                  <c:v>40630</c:v>
                </c:pt>
                <c:pt idx="911">
                  <c:v>40631</c:v>
                </c:pt>
                <c:pt idx="912">
                  <c:v>40632</c:v>
                </c:pt>
                <c:pt idx="913">
                  <c:v>40633</c:v>
                </c:pt>
                <c:pt idx="914">
                  <c:v>40634</c:v>
                </c:pt>
                <c:pt idx="915">
                  <c:v>40637</c:v>
                </c:pt>
                <c:pt idx="916">
                  <c:v>40638</c:v>
                </c:pt>
                <c:pt idx="917">
                  <c:v>40639</c:v>
                </c:pt>
                <c:pt idx="918">
                  <c:v>40640</c:v>
                </c:pt>
                <c:pt idx="919">
                  <c:v>40641</c:v>
                </c:pt>
                <c:pt idx="920">
                  <c:v>40644</c:v>
                </c:pt>
                <c:pt idx="921">
                  <c:v>40645</c:v>
                </c:pt>
                <c:pt idx="922">
                  <c:v>40646</c:v>
                </c:pt>
                <c:pt idx="923">
                  <c:v>40647</c:v>
                </c:pt>
                <c:pt idx="924">
                  <c:v>40648</c:v>
                </c:pt>
                <c:pt idx="925">
                  <c:v>40651</c:v>
                </c:pt>
                <c:pt idx="926">
                  <c:v>40652</c:v>
                </c:pt>
                <c:pt idx="927">
                  <c:v>40653</c:v>
                </c:pt>
                <c:pt idx="928">
                  <c:v>40654</c:v>
                </c:pt>
                <c:pt idx="929">
                  <c:v>40659</c:v>
                </c:pt>
                <c:pt idx="930">
                  <c:v>40660</c:v>
                </c:pt>
                <c:pt idx="931">
                  <c:v>40661</c:v>
                </c:pt>
                <c:pt idx="932">
                  <c:v>40662</c:v>
                </c:pt>
                <c:pt idx="933">
                  <c:v>40665</c:v>
                </c:pt>
                <c:pt idx="934">
                  <c:v>40666</c:v>
                </c:pt>
                <c:pt idx="935">
                  <c:v>40667</c:v>
                </c:pt>
                <c:pt idx="936">
                  <c:v>40668</c:v>
                </c:pt>
                <c:pt idx="937">
                  <c:v>40669</c:v>
                </c:pt>
                <c:pt idx="938">
                  <c:v>40672</c:v>
                </c:pt>
                <c:pt idx="939">
                  <c:v>40673</c:v>
                </c:pt>
                <c:pt idx="940">
                  <c:v>40674</c:v>
                </c:pt>
                <c:pt idx="941">
                  <c:v>40675</c:v>
                </c:pt>
                <c:pt idx="942">
                  <c:v>40676</c:v>
                </c:pt>
                <c:pt idx="943">
                  <c:v>40679</c:v>
                </c:pt>
                <c:pt idx="944">
                  <c:v>40680</c:v>
                </c:pt>
                <c:pt idx="945">
                  <c:v>40681</c:v>
                </c:pt>
                <c:pt idx="946">
                  <c:v>40682</c:v>
                </c:pt>
                <c:pt idx="947">
                  <c:v>40683</c:v>
                </c:pt>
                <c:pt idx="948">
                  <c:v>40686</c:v>
                </c:pt>
                <c:pt idx="949">
                  <c:v>40687</c:v>
                </c:pt>
                <c:pt idx="950">
                  <c:v>40688</c:v>
                </c:pt>
                <c:pt idx="951">
                  <c:v>40689</c:v>
                </c:pt>
                <c:pt idx="952">
                  <c:v>40690</c:v>
                </c:pt>
                <c:pt idx="953">
                  <c:v>40693</c:v>
                </c:pt>
                <c:pt idx="954">
                  <c:v>40694</c:v>
                </c:pt>
                <c:pt idx="955">
                  <c:v>40695</c:v>
                </c:pt>
                <c:pt idx="956">
                  <c:v>40696</c:v>
                </c:pt>
                <c:pt idx="957">
                  <c:v>40697</c:v>
                </c:pt>
                <c:pt idx="958">
                  <c:v>40700</c:v>
                </c:pt>
                <c:pt idx="959">
                  <c:v>40701</c:v>
                </c:pt>
                <c:pt idx="960">
                  <c:v>40702</c:v>
                </c:pt>
                <c:pt idx="961">
                  <c:v>40703</c:v>
                </c:pt>
                <c:pt idx="962">
                  <c:v>40704</c:v>
                </c:pt>
                <c:pt idx="963">
                  <c:v>40707</c:v>
                </c:pt>
                <c:pt idx="964">
                  <c:v>40708</c:v>
                </c:pt>
                <c:pt idx="965">
                  <c:v>40709</c:v>
                </c:pt>
                <c:pt idx="966">
                  <c:v>40710</c:v>
                </c:pt>
                <c:pt idx="967">
                  <c:v>40711</c:v>
                </c:pt>
                <c:pt idx="968">
                  <c:v>40714</c:v>
                </c:pt>
                <c:pt idx="969">
                  <c:v>40715</c:v>
                </c:pt>
                <c:pt idx="970">
                  <c:v>40716</c:v>
                </c:pt>
                <c:pt idx="971">
                  <c:v>40717</c:v>
                </c:pt>
                <c:pt idx="972">
                  <c:v>40718</c:v>
                </c:pt>
                <c:pt idx="973">
                  <c:v>40721</c:v>
                </c:pt>
                <c:pt idx="974">
                  <c:v>40722</c:v>
                </c:pt>
                <c:pt idx="975">
                  <c:v>40723</c:v>
                </c:pt>
                <c:pt idx="976">
                  <c:v>40724</c:v>
                </c:pt>
                <c:pt idx="977">
                  <c:v>40725</c:v>
                </c:pt>
                <c:pt idx="978">
                  <c:v>40728</c:v>
                </c:pt>
                <c:pt idx="979">
                  <c:v>40729</c:v>
                </c:pt>
                <c:pt idx="980">
                  <c:v>40730</c:v>
                </c:pt>
                <c:pt idx="981">
                  <c:v>40731</c:v>
                </c:pt>
                <c:pt idx="982">
                  <c:v>40732</c:v>
                </c:pt>
                <c:pt idx="983">
                  <c:v>40735</c:v>
                </c:pt>
                <c:pt idx="984">
                  <c:v>40736</c:v>
                </c:pt>
                <c:pt idx="985">
                  <c:v>40737</c:v>
                </c:pt>
                <c:pt idx="986">
                  <c:v>40738</c:v>
                </c:pt>
                <c:pt idx="987">
                  <c:v>40739</c:v>
                </c:pt>
                <c:pt idx="988">
                  <c:v>40742</c:v>
                </c:pt>
                <c:pt idx="989">
                  <c:v>40743</c:v>
                </c:pt>
                <c:pt idx="990">
                  <c:v>40744</c:v>
                </c:pt>
                <c:pt idx="991">
                  <c:v>40745</c:v>
                </c:pt>
                <c:pt idx="992">
                  <c:v>40746</c:v>
                </c:pt>
                <c:pt idx="993">
                  <c:v>40749</c:v>
                </c:pt>
                <c:pt idx="994">
                  <c:v>40750</c:v>
                </c:pt>
                <c:pt idx="995">
                  <c:v>40751</c:v>
                </c:pt>
                <c:pt idx="996">
                  <c:v>40752</c:v>
                </c:pt>
                <c:pt idx="997">
                  <c:v>40753</c:v>
                </c:pt>
                <c:pt idx="998">
                  <c:v>40756</c:v>
                </c:pt>
                <c:pt idx="999">
                  <c:v>40757</c:v>
                </c:pt>
                <c:pt idx="1000">
                  <c:v>40758</c:v>
                </c:pt>
                <c:pt idx="1001">
                  <c:v>40759</c:v>
                </c:pt>
                <c:pt idx="1002">
                  <c:v>40760</c:v>
                </c:pt>
                <c:pt idx="1003">
                  <c:v>40763</c:v>
                </c:pt>
                <c:pt idx="1004">
                  <c:v>40764</c:v>
                </c:pt>
                <c:pt idx="1005">
                  <c:v>40765</c:v>
                </c:pt>
                <c:pt idx="1006">
                  <c:v>40766</c:v>
                </c:pt>
                <c:pt idx="1007">
                  <c:v>40767</c:v>
                </c:pt>
                <c:pt idx="1008">
                  <c:v>40770</c:v>
                </c:pt>
                <c:pt idx="1009">
                  <c:v>40771</c:v>
                </c:pt>
                <c:pt idx="1010">
                  <c:v>40772</c:v>
                </c:pt>
                <c:pt idx="1011">
                  <c:v>40773</c:v>
                </c:pt>
                <c:pt idx="1012">
                  <c:v>40774</c:v>
                </c:pt>
                <c:pt idx="1013">
                  <c:v>40777</c:v>
                </c:pt>
                <c:pt idx="1014">
                  <c:v>40778</c:v>
                </c:pt>
                <c:pt idx="1015">
                  <c:v>40779</c:v>
                </c:pt>
                <c:pt idx="1016">
                  <c:v>40780</c:v>
                </c:pt>
                <c:pt idx="1017">
                  <c:v>40781</c:v>
                </c:pt>
                <c:pt idx="1018">
                  <c:v>40784</c:v>
                </c:pt>
                <c:pt idx="1019">
                  <c:v>40785</c:v>
                </c:pt>
                <c:pt idx="1020">
                  <c:v>40786</c:v>
                </c:pt>
                <c:pt idx="1021">
                  <c:v>40787</c:v>
                </c:pt>
                <c:pt idx="1022">
                  <c:v>40788</c:v>
                </c:pt>
                <c:pt idx="1023">
                  <c:v>40791</c:v>
                </c:pt>
                <c:pt idx="1024">
                  <c:v>40792</c:v>
                </c:pt>
                <c:pt idx="1025">
                  <c:v>40793</c:v>
                </c:pt>
                <c:pt idx="1026">
                  <c:v>40794</c:v>
                </c:pt>
                <c:pt idx="1027">
                  <c:v>40795</c:v>
                </c:pt>
                <c:pt idx="1028">
                  <c:v>40798</c:v>
                </c:pt>
                <c:pt idx="1029">
                  <c:v>40799</c:v>
                </c:pt>
                <c:pt idx="1030">
                  <c:v>40800</c:v>
                </c:pt>
                <c:pt idx="1031">
                  <c:v>40801</c:v>
                </c:pt>
                <c:pt idx="1032">
                  <c:v>40802</c:v>
                </c:pt>
                <c:pt idx="1033">
                  <c:v>40805</c:v>
                </c:pt>
                <c:pt idx="1034">
                  <c:v>40806</c:v>
                </c:pt>
                <c:pt idx="1035">
                  <c:v>40807</c:v>
                </c:pt>
                <c:pt idx="1036">
                  <c:v>40808</c:v>
                </c:pt>
                <c:pt idx="1037">
                  <c:v>40809</c:v>
                </c:pt>
                <c:pt idx="1038">
                  <c:v>40812</c:v>
                </c:pt>
                <c:pt idx="1039">
                  <c:v>40813</c:v>
                </c:pt>
                <c:pt idx="1040">
                  <c:v>40814</c:v>
                </c:pt>
                <c:pt idx="1041">
                  <c:v>40815</c:v>
                </c:pt>
                <c:pt idx="1042">
                  <c:v>40816</c:v>
                </c:pt>
                <c:pt idx="1043">
                  <c:v>40819</c:v>
                </c:pt>
                <c:pt idx="1044">
                  <c:v>40820</c:v>
                </c:pt>
                <c:pt idx="1045">
                  <c:v>40821</c:v>
                </c:pt>
                <c:pt idx="1046">
                  <c:v>40822</c:v>
                </c:pt>
                <c:pt idx="1047">
                  <c:v>40823</c:v>
                </c:pt>
                <c:pt idx="1048">
                  <c:v>40826</c:v>
                </c:pt>
                <c:pt idx="1049">
                  <c:v>40827</c:v>
                </c:pt>
                <c:pt idx="1050">
                  <c:v>40828</c:v>
                </c:pt>
                <c:pt idx="1051">
                  <c:v>40829</c:v>
                </c:pt>
                <c:pt idx="1052">
                  <c:v>40830</c:v>
                </c:pt>
                <c:pt idx="1053">
                  <c:v>40833</c:v>
                </c:pt>
                <c:pt idx="1054">
                  <c:v>40834</c:v>
                </c:pt>
                <c:pt idx="1055">
                  <c:v>40835</c:v>
                </c:pt>
                <c:pt idx="1056">
                  <c:v>40836</c:v>
                </c:pt>
                <c:pt idx="1057">
                  <c:v>40837</c:v>
                </c:pt>
                <c:pt idx="1058">
                  <c:v>40840</c:v>
                </c:pt>
                <c:pt idx="1059">
                  <c:v>40841</c:v>
                </c:pt>
                <c:pt idx="1060">
                  <c:v>40842</c:v>
                </c:pt>
                <c:pt idx="1061">
                  <c:v>40843</c:v>
                </c:pt>
                <c:pt idx="1062">
                  <c:v>40844</c:v>
                </c:pt>
                <c:pt idx="1063">
                  <c:v>40847</c:v>
                </c:pt>
                <c:pt idx="1064">
                  <c:v>40848</c:v>
                </c:pt>
                <c:pt idx="1065">
                  <c:v>40849</c:v>
                </c:pt>
                <c:pt idx="1066">
                  <c:v>40850</c:v>
                </c:pt>
                <c:pt idx="1067">
                  <c:v>40851</c:v>
                </c:pt>
                <c:pt idx="1068">
                  <c:v>40854</c:v>
                </c:pt>
                <c:pt idx="1069">
                  <c:v>40855</c:v>
                </c:pt>
                <c:pt idx="1070">
                  <c:v>40856</c:v>
                </c:pt>
                <c:pt idx="1071">
                  <c:v>40857</c:v>
                </c:pt>
                <c:pt idx="1072">
                  <c:v>40858</c:v>
                </c:pt>
                <c:pt idx="1073">
                  <c:v>40861</c:v>
                </c:pt>
                <c:pt idx="1074">
                  <c:v>40862</c:v>
                </c:pt>
                <c:pt idx="1075">
                  <c:v>40863</c:v>
                </c:pt>
                <c:pt idx="1076">
                  <c:v>40864</c:v>
                </c:pt>
                <c:pt idx="1077">
                  <c:v>40865</c:v>
                </c:pt>
                <c:pt idx="1078">
                  <c:v>40868</c:v>
                </c:pt>
                <c:pt idx="1079">
                  <c:v>40869</c:v>
                </c:pt>
                <c:pt idx="1080">
                  <c:v>40870</c:v>
                </c:pt>
                <c:pt idx="1081">
                  <c:v>40871</c:v>
                </c:pt>
                <c:pt idx="1082">
                  <c:v>40872</c:v>
                </c:pt>
                <c:pt idx="1083">
                  <c:v>40875</c:v>
                </c:pt>
                <c:pt idx="1084">
                  <c:v>40876</c:v>
                </c:pt>
                <c:pt idx="1085">
                  <c:v>40877</c:v>
                </c:pt>
                <c:pt idx="1086">
                  <c:v>40878</c:v>
                </c:pt>
                <c:pt idx="1087">
                  <c:v>40879</c:v>
                </c:pt>
                <c:pt idx="1088">
                  <c:v>40882</c:v>
                </c:pt>
                <c:pt idx="1089">
                  <c:v>40883</c:v>
                </c:pt>
                <c:pt idx="1090">
                  <c:v>40884</c:v>
                </c:pt>
                <c:pt idx="1091">
                  <c:v>40885</c:v>
                </c:pt>
                <c:pt idx="1092">
                  <c:v>40886</c:v>
                </c:pt>
                <c:pt idx="1093">
                  <c:v>40889</c:v>
                </c:pt>
                <c:pt idx="1094">
                  <c:v>40890</c:v>
                </c:pt>
                <c:pt idx="1095">
                  <c:v>40891</c:v>
                </c:pt>
                <c:pt idx="1096">
                  <c:v>40892</c:v>
                </c:pt>
                <c:pt idx="1097">
                  <c:v>40893</c:v>
                </c:pt>
                <c:pt idx="1098">
                  <c:v>40896</c:v>
                </c:pt>
                <c:pt idx="1099">
                  <c:v>40897</c:v>
                </c:pt>
                <c:pt idx="1100">
                  <c:v>40898</c:v>
                </c:pt>
                <c:pt idx="1101">
                  <c:v>40899</c:v>
                </c:pt>
                <c:pt idx="1102">
                  <c:v>40900</c:v>
                </c:pt>
                <c:pt idx="1103">
                  <c:v>40904</c:v>
                </c:pt>
                <c:pt idx="1104">
                  <c:v>40905</c:v>
                </c:pt>
                <c:pt idx="1105">
                  <c:v>40906</c:v>
                </c:pt>
                <c:pt idx="1106">
                  <c:v>40907</c:v>
                </c:pt>
                <c:pt idx="1107">
                  <c:v>40910</c:v>
                </c:pt>
                <c:pt idx="1108">
                  <c:v>40911</c:v>
                </c:pt>
                <c:pt idx="1109">
                  <c:v>40912</c:v>
                </c:pt>
                <c:pt idx="1110">
                  <c:v>40913</c:v>
                </c:pt>
                <c:pt idx="1111">
                  <c:v>40914</c:v>
                </c:pt>
                <c:pt idx="1112">
                  <c:v>40917</c:v>
                </c:pt>
                <c:pt idx="1113">
                  <c:v>40918</c:v>
                </c:pt>
                <c:pt idx="1114">
                  <c:v>40919</c:v>
                </c:pt>
                <c:pt idx="1115">
                  <c:v>40920</c:v>
                </c:pt>
                <c:pt idx="1116">
                  <c:v>40921</c:v>
                </c:pt>
                <c:pt idx="1117">
                  <c:v>40924</c:v>
                </c:pt>
                <c:pt idx="1118">
                  <c:v>40925</c:v>
                </c:pt>
                <c:pt idx="1119">
                  <c:v>40926</c:v>
                </c:pt>
                <c:pt idx="1120">
                  <c:v>40927</c:v>
                </c:pt>
                <c:pt idx="1121">
                  <c:v>40928</c:v>
                </c:pt>
                <c:pt idx="1122">
                  <c:v>40931</c:v>
                </c:pt>
                <c:pt idx="1123">
                  <c:v>40932</c:v>
                </c:pt>
                <c:pt idx="1124">
                  <c:v>40933</c:v>
                </c:pt>
                <c:pt idx="1125">
                  <c:v>40934</c:v>
                </c:pt>
                <c:pt idx="1126">
                  <c:v>40935</c:v>
                </c:pt>
                <c:pt idx="1127">
                  <c:v>40938</c:v>
                </c:pt>
                <c:pt idx="1128">
                  <c:v>40939</c:v>
                </c:pt>
                <c:pt idx="1129">
                  <c:v>40940</c:v>
                </c:pt>
                <c:pt idx="1130">
                  <c:v>40941</c:v>
                </c:pt>
                <c:pt idx="1131">
                  <c:v>40942</c:v>
                </c:pt>
                <c:pt idx="1132">
                  <c:v>40945</c:v>
                </c:pt>
                <c:pt idx="1133">
                  <c:v>40946</c:v>
                </c:pt>
                <c:pt idx="1134">
                  <c:v>40947</c:v>
                </c:pt>
                <c:pt idx="1135">
                  <c:v>40948</c:v>
                </c:pt>
                <c:pt idx="1136">
                  <c:v>40949</c:v>
                </c:pt>
                <c:pt idx="1137">
                  <c:v>40952</c:v>
                </c:pt>
                <c:pt idx="1138">
                  <c:v>40953</c:v>
                </c:pt>
                <c:pt idx="1139">
                  <c:v>40954</c:v>
                </c:pt>
                <c:pt idx="1140">
                  <c:v>40955</c:v>
                </c:pt>
                <c:pt idx="1141">
                  <c:v>40956</c:v>
                </c:pt>
                <c:pt idx="1142">
                  <c:v>40959</c:v>
                </c:pt>
                <c:pt idx="1143">
                  <c:v>40960</c:v>
                </c:pt>
                <c:pt idx="1144">
                  <c:v>40961</c:v>
                </c:pt>
                <c:pt idx="1145">
                  <c:v>40962</c:v>
                </c:pt>
                <c:pt idx="1146">
                  <c:v>40963</c:v>
                </c:pt>
                <c:pt idx="1147">
                  <c:v>40966</c:v>
                </c:pt>
                <c:pt idx="1148">
                  <c:v>40967</c:v>
                </c:pt>
                <c:pt idx="1149">
                  <c:v>40968</c:v>
                </c:pt>
                <c:pt idx="1150">
                  <c:v>40969</c:v>
                </c:pt>
                <c:pt idx="1151">
                  <c:v>40970</c:v>
                </c:pt>
                <c:pt idx="1152">
                  <c:v>40973</c:v>
                </c:pt>
                <c:pt idx="1153">
                  <c:v>40974</c:v>
                </c:pt>
                <c:pt idx="1154">
                  <c:v>40975</c:v>
                </c:pt>
                <c:pt idx="1155">
                  <c:v>40976</c:v>
                </c:pt>
                <c:pt idx="1156">
                  <c:v>40977</c:v>
                </c:pt>
                <c:pt idx="1157">
                  <c:v>40980</c:v>
                </c:pt>
                <c:pt idx="1158">
                  <c:v>40981</c:v>
                </c:pt>
                <c:pt idx="1159">
                  <c:v>40982</c:v>
                </c:pt>
                <c:pt idx="1160">
                  <c:v>40983</c:v>
                </c:pt>
                <c:pt idx="1161">
                  <c:v>40984</c:v>
                </c:pt>
                <c:pt idx="1162">
                  <c:v>40987</c:v>
                </c:pt>
                <c:pt idx="1163">
                  <c:v>40988</c:v>
                </c:pt>
                <c:pt idx="1164">
                  <c:v>40989</c:v>
                </c:pt>
                <c:pt idx="1165">
                  <c:v>40990</c:v>
                </c:pt>
                <c:pt idx="1166">
                  <c:v>40991</c:v>
                </c:pt>
                <c:pt idx="1167">
                  <c:v>40994</c:v>
                </c:pt>
                <c:pt idx="1168">
                  <c:v>40995</c:v>
                </c:pt>
                <c:pt idx="1169">
                  <c:v>40996</c:v>
                </c:pt>
                <c:pt idx="1170">
                  <c:v>40997</c:v>
                </c:pt>
                <c:pt idx="1171">
                  <c:v>40998</c:v>
                </c:pt>
                <c:pt idx="1172">
                  <c:v>41001</c:v>
                </c:pt>
                <c:pt idx="1173">
                  <c:v>41002</c:v>
                </c:pt>
                <c:pt idx="1174">
                  <c:v>41003</c:v>
                </c:pt>
                <c:pt idx="1175">
                  <c:v>41004</c:v>
                </c:pt>
                <c:pt idx="1176">
                  <c:v>41009</c:v>
                </c:pt>
                <c:pt idx="1177">
                  <c:v>41010</c:v>
                </c:pt>
                <c:pt idx="1178">
                  <c:v>41011</c:v>
                </c:pt>
                <c:pt idx="1179">
                  <c:v>41012</c:v>
                </c:pt>
                <c:pt idx="1180">
                  <c:v>41015</c:v>
                </c:pt>
                <c:pt idx="1181">
                  <c:v>41016</c:v>
                </c:pt>
                <c:pt idx="1182">
                  <c:v>41017</c:v>
                </c:pt>
                <c:pt idx="1183">
                  <c:v>41018</c:v>
                </c:pt>
                <c:pt idx="1184">
                  <c:v>41019</c:v>
                </c:pt>
                <c:pt idx="1185">
                  <c:v>41022</c:v>
                </c:pt>
                <c:pt idx="1186">
                  <c:v>41023</c:v>
                </c:pt>
                <c:pt idx="1187">
                  <c:v>41024</c:v>
                </c:pt>
                <c:pt idx="1188">
                  <c:v>41025</c:v>
                </c:pt>
                <c:pt idx="1189">
                  <c:v>41026</c:v>
                </c:pt>
                <c:pt idx="1190">
                  <c:v>41029</c:v>
                </c:pt>
                <c:pt idx="1191">
                  <c:v>41030</c:v>
                </c:pt>
                <c:pt idx="1192">
                  <c:v>41031</c:v>
                </c:pt>
                <c:pt idx="1193">
                  <c:v>41032</c:v>
                </c:pt>
                <c:pt idx="1194">
                  <c:v>41033</c:v>
                </c:pt>
                <c:pt idx="1195">
                  <c:v>41036</c:v>
                </c:pt>
                <c:pt idx="1196">
                  <c:v>41037</c:v>
                </c:pt>
                <c:pt idx="1197">
                  <c:v>41038</c:v>
                </c:pt>
                <c:pt idx="1198">
                  <c:v>41039</c:v>
                </c:pt>
                <c:pt idx="1199">
                  <c:v>41040</c:v>
                </c:pt>
                <c:pt idx="1200">
                  <c:v>41043</c:v>
                </c:pt>
                <c:pt idx="1201">
                  <c:v>41044</c:v>
                </c:pt>
                <c:pt idx="1202">
                  <c:v>41045</c:v>
                </c:pt>
                <c:pt idx="1203">
                  <c:v>41046</c:v>
                </c:pt>
                <c:pt idx="1204">
                  <c:v>41047</c:v>
                </c:pt>
                <c:pt idx="1205">
                  <c:v>41050</c:v>
                </c:pt>
                <c:pt idx="1206">
                  <c:v>41051</c:v>
                </c:pt>
                <c:pt idx="1207">
                  <c:v>41052</c:v>
                </c:pt>
                <c:pt idx="1208">
                  <c:v>41053</c:v>
                </c:pt>
                <c:pt idx="1209">
                  <c:v>41054</c:v>
                </c:pt>
                <c:pt idx="1210">
                  <c:v>41057</c:v>
                </c:pt>
                <c:pt idx="1211">
                  <c:v>41058</c:v>
                </c:pt>
                <c:pt idx="1212">
                  <c:v>41059</c:v>
                </c:pt>
                <c:pt idx="1213">
                  <c:v>41060</c:v>
                </c:pt>
                <c:pt idx="1214">
                  <c:v>41061</c:v>
                </c:pt>
                <c:pt idx="1215">
                  <c:v>41064</c:v>
                </c:pt>
                <c:pt idx="1216">
                  <c:v>41065</c:v>
                </c:pt>
                <c:pt idx="1217">
                  <c:v>41066</c:v>
                </c:pt>
                <c:pt idx="1218">
                  <c:v>41067</c:v>
                </c:pt>
                <c:pt idx="1219">
                  <c:v>41068</c:v>
                </c:pt>
                <c:pt idx="1220">
                  <c:v>41071</c:v>
                </c:pt>
                <c:pt idx="1221">
                  <c:v>41072</c:v>
                </c:pt>
                <c:pt idx="1222">
                  <c:v>41073</c:v>
                </c:pt>
                <c:pt idx="1223">
                  <c:v>41074</c:v>
                </c:pt>
                <c:pt idx="1224">
                  <c:v>41075</c:v>
                </c:pt>
                <c:pt idx="1225">
                  <c:v>41078</c:v>
                </c:pt>
                <c:pt idx="1226">
                  <c:v>41079</c:v>
                </c:pt>
                <c:pt idx="1227">
                  <c:v>41080</c:v>
                </c:pt>
                <c:pt idx="1228">
                  <c:v>41081</c:v>
                </c:pt>
                <c:pt idx="1229">
                  <c:v>41082</c:v>
                </c:pt>
                <c:pt idx="1230">
                  <c:v>41085</c:v>
                </c:pt>
                <c:pt idx="1231">
                  <c:v>41086</c:v>
                </c:pt>
                <c:pt idx="1232">
                  <c:v>41087</c:v>
                </c:pt>
                <c:pt idx="1233">
                  <c:v>41088</c:v>
                </c:pt>
                <c:pt idx="1234">
                  <c:v>41089</c:v>
                </c:pt>
                <c:pt idx="1235">
                  <c:v>41092</c:v>
                </c:pt>
                <c:pt idx="1236">
                  <c:v>41093</c:v>
                </c:pt>
                <c:pt idx="1237">
                  <c:v>41094</c:v>
                </c:pt>
                <c:pt idx="1238">
                  <c:v>41095</c:v>
                </c:pt>
                <c:pt idx="1239">
                  <c:v>41096</c:v>
                </c:pt>
                <c:pt idx="1240">
                  <c:v>41099</c:v>
                </c:pt>
                <c:pt idx="1241">
                  <c:v>41100</c:v>
                </c:pt>
                <c:pt idx="1242">
                  <c:v>41101</c:v>
                </c:pt>
                <c:pt idx="1243">
                  <c:v>41102</c:v>
                </c:pt>
                <c:pt idx="1244">
                  <c:v>41103</c:v>
                </c:pt>
                <c:pt idx="1245">
                  <c:v>41106</c:v>
                </c:pt>
                <c:pt idx="1246">
                  <c:v>41107</c:v>
                </c:pt>
                <c:pt idx="1247">
                  <c:v>41108</c:v>
                </c:pt>
                <c:pt idx="1248">
                  <c:v>41109</c:v>
                </c:pt>
                <c:pt idx="1249">
                  <c:v>41110</c:v>
                </c:pt>
                <c:pt idx="1250">
                  <c:v>41113</c:v>
                </c:pt>
                <c:pt idx="1251">
                  <c:v>41114</c:v>
                </c:pt>
                <c:pt idx="1252">
                  <c:v>41115</c:v>
                </c:pt>
                <c:pt idx="1253">
                  <c:v>41116</c:v>
                </c:pt>
                <c:pt idx="1254">
                  <c:v>41117</c:v>
                </c:pt>
                <c:pt idx="1255">
                  <c:v>41120</c:v>
                </c:pt>
                <c:pt idx="1256">
                  <c:v>41121</c:v>
                </c:pt>
                <c:pt idx="1257">
                  <c:v>41122</c:v>
                </c:pt>
                <c:pt idx="1258">
                  <c:v>41123</c:v>
                </c:pt>
                <c:pt idx="1259">
                  <c:v>41124</c:v>
                </c:pt>
                <c:pt idx="1260">
                  <c:v>41127</c:v>
                </c:pt>
                <c:pt idx="1261">
                  <c:v>41128</c:v>
                </c:pt>
                <c:pt idx="1262">
                  <c:v>41129</c:v>
                </c:pt>
                <c:pt idx="1263">
                  <c:v>41130</c:v>
                </c:pt>
                <c:pt idx="1264">
                  <c:v>41131</c:v>
                </c:pt>
                <c:pt idx="1265">
                  <c:v>41134</c:v>
                </c:pt>
                <c:pt idx="1266">
                  <c:v>41135</c:v>
                </c:pt>
                <c:pt idx="1267">
                  <c:v>41136</c:v>
                </c:pt>
                <c:pt idx="1268">
                  <c:v>41137</c:v>
                </c:pt>
                <c:pt idx="1269">
                  <c:v>41138</c:v>
                </c:pt>
                <c:pt idx="1270">
                  <c:v>41141</c:v>
                </c:pt>
                <c:pt idx="1271">
                  <c:v>41142</c:v>
                </c:pt>
                <c:pt idx="1272">
                  <c:v>41143</c:v>
                </c:pt>
                <c:pt idx="1273">
                  <c:v>41144</c:v>
                </c:pt>
                <c:pt idx="1274">
                  <c:v>41145</c:v>
                </c:pt>
                <c:pt idx="1275">
                  <c:v>41148</c:v>
                </c:pt>
                <c:pt idx="1276">
                  <c:v>41149</c:v>
                </c:pt>
                <c:pt idx="1277">
                  <c:v>41150</c:v>
                </c:pt>
                <c:pt idx="1278">
                  <c:v>41151</c:v>
                </c:pt>
                <c:pt idx="1279">
                  <c:v>41152</c:v>
                </c:pt>
                <c:pt idx="1280">
                  <c:v>41155</c:v>
                </c:pt>
                <c:pt idx="1281">
                  <c:v>41156</c:v>
                </c:pt>
                <c:pt idx="1282">
                  <c:v>41157</c:v>
                </c:pt>
                <c:pt idx="1283">
                  <c:v>41158</c:v>
                </c:pt>
                <c:pt idx="1284">
                  <c:v>41159</c:v>
                </c:pt>
                <c:pt idx="1285">
                  <c:v>41162</c:v>
                </c:pt>
                <c:pt idx="1286">
                  <c:v>41163</c:v>
                </c:pt>
                <c:pt idx="1287">
                  <c:v>41164</c:v>
                </c:pt>
                <c:pt idx="1288">
                  <c:v>41165</c:v>
                </c:pt>
                <c:pt idx="1289">
                  <c:v>41166</c:v>
                </c:pt>
                <c:pt idx="1290">
                  <c:v>41169</c:v>
                </c:pt>
                <c:pt idx="1291">
                  <c:v>41170</c:v>
                </c:pt>
                <c:pt idx="1292">
                  <c:v>41171</c:v>
                </c:pt>
                <c:pt idx="1293">
                  <c:v>41172</c:v>
                </c:pt>
                <c:pt idx="1294">
                  <c:v>41173</c:v>
                </c:pt>
                <c:pt idx="1295">
                  <c:v>41176</c:v>
                </c:pt>
                <c:pt idx="1296">
                  <c:v>41177</c:v>
                </c:pt>
                <c:pt idx="1297">
                  <c:v>41178</c:v>
                </c:pt>
                <c:pt idx="1298">
                  <c:v>41179</c:v>
                </c:pt>
                <c:pt idx="1299">
                  <c:v>41180</c:v>
                </c:pt>
                <c:pt idx="1300">
                  <c:v>41183</c:v>
                </c:pt>
                <c:pt idx="1301">
                  <c:v>41184</c:v>
                </c:pt>
                <c:pt idx="1302">
                  <c:v>41185</c:v>
                </c:pt>
                <c:pt idx="1303">
                  <c:v>41186</c:v>
                </c:pt>
                <c:pt idx="1304">
                  <c:v>41187</c:v>
                </c:pt>
                <c:pt idx="1305">
                  <c:v>41190</c:v>
                </c:pt>
                <c:pt idx="1306">
                  <c:v>41191</c:v>
                </c:pt>
                <c:pt idx="1307">
                  <c:v>41192</c:v>
                </c:pt>
                <c:pt idx="1308">
                  <c:v>41193</c:v>
                </c:pt>
                <c:pt idx="1309">
                  <c:v>41194</c:v>
                </c:pt>
                <c:pt idx="1310">
                  <c:v>41197</c:v>
                </c:pt>
                <c:pt idx="1311">
                  <c:v>41198</c:v>
                </c:pt>
                <c:pt idx="1312">
                  <c:v>41199</c:v>
                </c:pt>
                <c:pt idx="1313">
                  <c:v>41200</c:v>
                </c:pt>
                <c:pt idx="1314">
                  <c:v>41201</c:v>
                </c:pt>
                <c:pt idx="1315">
                  <c:v>41204</c:v>
                </c:pt>
                <c:pt idx="1316">
                  <c:v>41205</c:v>
                </c:pt>
                <c:pt idx="1317">
                  <c:v>41206</c:v>
                </c:pt>
                <c:pt idx="1318">
                  <c:v>41207</c:v>
                </c:pt>
                <c:pt idx="1319">
                  <c:v>41208</c:v>
                </c:pt>
                <c:pt idx="1320">
                  <c:v>41211</c:v>
                </c:pt>
                <c:pt idx="1321">
                  <c:v>41212</c:v>
                </c:pt>
                <c:pt idx="1322">
                  <c:v>41213</c:v>
                </c:pt>
                <c:pt idx="1323">
                  <c:v>41214</c:v>
                </c:pt>
                <c:pt idx="1324">
                  <c:v>41215</c:v>
                </c:pt>
                <c:pt idx="1325">
                  <c:v>41218</c:v>
                </c:pt>
                <c:pt idx="1326">
                  <c:v>41219</c:v>
                </c:pt>
                <c:pt idx="1327">
                  <c:v>41220</c:v>
                </c:pt>
                <c:pt idx="1328">
                  <c:v>41221</c:v>
                </c:pt>
                <c:pt idx="1329">
                  <c:v>41222</c:v>
                </c:pt>
                <c:pt idx="1330">
                  <c:v>41225</c:v>
                </c:pt>
                <c:pt idx="1331">
                  <c:v>41226</c:v>
                </c:pt>
                <c:pt idx="1332">
                  <c:v>41227</c:v>
                </c:pt>
                <c:pt idx="1333">
                  <c:v>41228</c:v>
                </c:pt>
                <c:pt idx="1334">
                  <c:v>41229</c:v>
                </c:pt>
                <c:pt idx="1335">
                  <c:v>41232</c:v>
                </c:pt>
                <c:pt idx="1336">
                  <c:v>41233</c:v>
                </c:pt>
                <c:pt idx="1337">
                  <c:v>41234</c:v>
                </c:pt>
                <c:pt idx="1338">
                  <c:v>41235</c:v>
                </c:pt>
                <c:pt idx="1339">
                  <c:v>41236</c:v>
                </c:pt>
                <c:pt idx="1340">
                  <c:v>41239</c:v>
                </c:pt>
                <c:pt idx="1341">
                  <c:v>41240</c:v>
                </c:pt>
                <c:pt idx="1342">
                  <c:v>41241</c:v>
                </c:pt>
                <c:pt idx="1343">
                  <c:v>41242</c:v>
                </c:pt>
                <c:pt idx="1344">
                  <c:v>41243</c:v>
                </c:pt>
                <c:pt idx="1345">
                  <c:v>41246</c:v>
                </c:pt>
                <c:pt idx="1346">
                  <c:v>41247</c:v>
                </c:pt>
                <c:pt idx="1347">
                  <c:v>41248</c:v>
                </c:pt>
                <c:pt idx="1348">
                  <c:v>41249</c:v>
                </c:pt>
                <c:pt idx="1349">
                  <c:v>41250</c:v>
                </c:pt>
                <c:pt idx="1350">
                  <c:v>41253</c:v>
                </c:pt>
                <c:pt idx="1351">
                  <c:v>41254</c:v>
                </c:pt>
                <c:pt idx="1352">
                  <c:v>41255</c:v>
                </c:pt>
                <c:pt idx="1353">
                  <c:v>41256</c:v>
                </c:pt>
                <c:pt idx="1354">
                  <c:v>41257</c:v>
                </c:pt>
                <c:pt idx="1355">
                  <c:v>41260</c:v>
                </c:pt>
                <c:pt idx="1356">
                  <c:v>41261</c:v>
                </c:pt>
                <c:pt idx="1357">
                  <c:v>41262</c:v>
                </c:pt>
                <c:pt idx="1358">
                  <c:v>41263</c:v>
                </c:pt>
                <c:pt idx="1359">
                  <c:v>41264</c:v>
                </c:pt>
                <c:pt idx="1360">
                  <c:v>41267</c:v>
                </c:pt>
                <c:pt idx="1361">
                  <c:v>41270</c:v>
                </c:pt>
                <c:pt idx="1362">
                  <c:v>41271</c:v>
                </c:pt>
                <c:pt idx="1363">
                  <c:v>41274</c:v>
                </c:pt>
                <c:pt idx="1364">
                  <c:v>41276</c:v>
                </c:pt>
                <c:pt idx="1365">
                  <c:v>41277</c:v>
                </c:pt>
                <c:pt idx="1366">
                  <c:v>41278</c:v>
                </c:pt>
                <c:pt idx="1367">
                  <c:v>41281</c:v>
                </c:pt>
                <c:pt idx="1368">
                  <c:v>41282</c:v>
                </c:pt>
                <c:pt idx="1369">
                  <c:v>41283</c:v>
                </c:pt>
                <c:pt idx="1370">
                  <c:v>41284</c:v>
                </c:pt>
                <c:pt idx="1371">
                  <c:v>41285</c:v>
                </c:pt>
                <c:pt idx="1372">
                  <c:v>41288</c:v>
                </c:pt>
                <c:pt idx="1373">
                  <c:v>41289</c:v>
                </c:pt>
                <c:pt idx="1374">
                  <c:v>41290</c:v>
                </c:pt>
                <c:pt idx="1375">
                  <c:v>41291</c:v>
                </c:pt>
                <c:pt idx="1376">
                  <c:v>41292</c:v>
                </c:pt>
                <c:pt idx="1377">
                  <c:v>41295</c:v>
                </c:pt>
                <c:pt idx="1378">
                  <c:v>41296</c:v>
                </c:pt>
                <c:pt idx="1379">
                  <c:v>41297</c:v>
                </c:pt>
                <c:pt idx="1380">
                  <c:v>41298</c:v>
                </c:pt>
                <c:pt idx="1381">
                  <c:v>41299</c:v>
                </c:pt>
                <c:pt idx="1382">
                  <c:v>41302</c:v>
                </c:pt>
                <c:pt idx="1383">
                  <c:v>41303</c:v>
                </c:pt>
                <c:pt idx="1384">
                  <c:v>41304</c:v>
                </c:pt>
                <c:pt idx="1385">
                  <c:v>41305</c:v>
                </c:pt>
                <c:pt idx="1386">
                  <c:v>41306</c:v>
                </c:pt>
                <c:pt idx="1387">
                  <c:v>41309</c:v>
                </c:pt>
                <c:pt idx="1388">
                  <c:v>41310</c:v>
                </c:pt>
                <c:pt idx="1389">
                  <c:v>41311</c:v>
                </c:pt>
                <c:pt idx="1390">
                  <c:v>41312</c:v>
                </c:pt>
                <c:pt idx="1391">
                  <c:v>41313</c:v>
                </c:pt>
                <c:pt idx="1392">
                  <c:v>41316</c:v>
                </c:pt>
                <c:pt idx="1393">
                  <c:v>41317</c:v>
                </c:pt>
                <c:pt idx="1394">
                  <c:v>41318</c:v>
                </c:pt>
                <c:pt idx="1395">
                  <c:v>41319</c:v>
                </c:pt>
                <c:pt idx="1396">
                  <c:v>41320</c:v>
                </c:pt>
                <c:pt idx="1397">
                  <c:v>41323</c:v>
                </c:pt>
                <c:pt idx="1398">
                  <c:v>41324</c:v>
                </c:pt>
                <c:pt idx="1399">
                  <c:v>41325</c:v>
                </c:pt>
                <c:pt idx="1400">
                  <c:v>41326</c:v>
                </c:pt>
                <c:pt idx="1401">
                  <c:v>41327</c:v>
                </c:pt>
                <c:pt idx="1402">
                  <c:v>41330</c:v>
                </c:pt>
                <c:pt idx="1403">
                  <c:v>41331</c:v>
                </c:pt>
                <c:pt idx="1404">
                  <c:v>41332</c:v>
                </c:pt>
                <c:pt idx="1405">
                  <c:v>41333</c:v>
                </c:pt>
                <c:pt idx="1406">
                  <c:v>41334</c:v>
                </c:pt>
                <c:pt idx="1407">
                  <c:v>41337</c:v>
                </c:pt>
                <c:pt idx="1408">
                  <c:v>41338</c:v>
                </c:pt>
                <c:pt idx="1409">
                  <c:v>41339</c:v>
                </c:pt>
                <c:pt idx="1410">
                  <c:v>41340</c:v>
                </c:pt>
                <c:pt idx="1411">
                  <c:v>41341</c:v>
                </c:pt>
                <c:pt idx="1412">
                  <c:v>41344</c:v>
                </c:pt>
                <c:pt idx="1413">
                  <c:v>41345</c:v>
                </c:pt>
                <c:pt idx="1414">
                  <c:v>41346</c:v>
                </c:pt>
                <c:pt idx="1415">
                  <c:v>41347</c:v>
                </c:pt>
                <c:pt idx="1416">
                  <c:v>41348</c:v>
                </c:pt>
                <c:pt idx="1417">
                  <c:v>41351</c:v>
                </c:pt>
                <c:pt idx="1418">
                  <c:v>41352</c:v>
                </c:pt>
                <c:pt idx="1419">
                  <c:v>41353</c:v>
                </c:pt>
                <c:pt idx="1420">
                  <c:v>41354</c:v>
                </c:pt>
                <c:pt idx="1421">
                  <c:v>41355</c:v>
                </c:pt>
                <c:pt idx="1422">
                  <c:v>41358</c:v>
                </c:pt>
                <c:pt idx="1423">
                  <c:v>41359</c:v>
                </c:pt>
                <c:pt idx="1424">
                  <c:v>41360</c:v>
                </c:pt>
                <c:pt idx="1425">
                  <c:v>41361</c:v>
                </c:pt>
                <c:pt idx="1426">
                  <c:v>41366</c:v>
                </c:pt>
                <c:pt idx="1427">
                  <c:v>41367</c:v>
                </c:pt>
                <c:pt idx="1428">
                  <c:v>41368</c:v>
                </c:pt>
                <c:pt idx="1429">
                  <c:v>41369</c:v>
                </c:pt>
                <c:pt idx="1430">
                  <c:v>41372</c:v>
                </c:pt>
                <c:pt idx="1431">
                  <c:v>41373</c:v>
                </c:pt>
                <c:pt idx="1432">
                  <c:v>41374</c:v>
                </c:pt>
                <c:pt idx="1433">
                  <c:v>41375</c:v>
                </c:pt>
                <c:pt idx="1434">
                  <c:v>41376</c:v>
                </c:pt>
                <c:pt idx="1435">
                  <c:v>41379</c:v>
                </c:pt>
                <c:pt idx="1436">
                  <c:v>41380</c:v>
                </c:pt>
                <c:pt idx="1437">
                  <c:v>41381</c:v>
                </c:pt>
                <c:pt idx="1438">
                  <c:v>41382</c:v>
                </c:pt>
                <c:pt idx="1439">
                  <c:v>41383</c:v>
                </c:pt>
                <c:pt idx="1440">
                  <c:v>41386</c:v>
                </c:pt>
                <c:pt idx="1441">
                  <c:v>41387</c:v>
                </c:pt>
                <c:pt idx="1442">
                  <c:v>41388</c:v>
                </c:pt>
                <c:pt idx="1443">
                  <c:v>41389</c:v>
                </c:pt>
                <c:pt idx="1444">
                  <c:v>41390</c:v>
                </c:pt>
                <c:pt idx="1445">
                  <c:v>41393</c:v>
                </c:pt>
                <c:pt idx="1446">
                  <c:v>41394</c:v>
                </c:pt>
                <c:pt idx="1447">
                  <c:v>41395</c:v>
                </c:pt>
                <c:pt idx="1448">
                  <c:v>41396</c:v>
                </c:pt>
                <c:pt idx="1449">
                  <c:v>41397</c:v>
                </c:pt>
                <c:pt idx="1450">
                  <c:v>41400</c:v>
                </c:pt>
                <c:pt idx="1451">
                  <c:v>41401</c:v>
                </c:pt>
                <c:pt idx="1452">
                  <c:v>41402</c:v>
                </c:pt>
                <c:pt idx="1453">
                  <c:v>41403</c:v>
                </c:pt>
                <c:pt idx="1454">
                  <c:v>41404</c:v>
                </c:pt>
                <c:pt idx="1455">
                  <c:v>41407</c:v>
                </c:pt>
                <c:pt idx="1456">
                  <c:v>41408</c:v>
                </c:pt>
                <c:pt idx="1457">
                  <c:v>41409</c:v>
                </c:pt>
                <c:pt idx="1458">
                  <c:v>41410</c:v>
                </c:pt>
                <c:pt idx="1459">
                  <c:v>41411</c:v>
                </c:pt>
                <c:pt idx="1460">
                  <c:v>41414</c:v>
                </c:pt>
                <c:pt idx="1461">
                  <c:v>41415</c:v>
                </c:pt>
                <c:pt idx="1462">
                  <c:v>41416</c:v>
                </c:pt>
                <c:pt idx="1463">
                  <c:v>41417</c:v>
                </c:pt>
                <c:pt idx="1464">
                  <c:v>41418</c:v>
                </c:pt>
                <c:pt idx="1465">
                  <c:v>41421</c:v>
                </c:pt>
                <c:pt idx="1466">
                  <c:v>41422</c:v>
                </c:pt>
                <c:pt idx="1467">
                  <c:v>41423</c:v>
                </c:pt>
                <c:pt idx="1468">
                  <c:v>41424</c:v>
                </c:pt>
                <c:pt idx="1469">
                  <c:v>41425</c:v>
                </c:pt>
                <c:pt idx="1470">
                  <c:v>41428</c:v>
                </c:pt>
                <c:pt idx="1471">
                  <c:v>41429</c:v>
                </c:pt>
                <c:pt idx="1472">
                  <c:v>41430</c:v>
                </c:pt>
                <c:pt idx="1473">
                  <c:v>41431</c:v>
                </c:pt>
                <c:pt idx="1474">
                  <c:v>41432</c:v>
                </c:pt>
                <c:pt idx="1475">
                  <c:v>41435</c:v>
                </c:pt>
                <c:pt idx="1476">
                  <c:v>41436</c:v>
                </c:pt>
                <c:pt idx="1477">
                  <c:v>41437</c:v>
                </c:pt>
                <c:pt idx="1478">
                  <c:v>41438</c:v>
                </c:pt>
                <c:pt idx="1479">
                  <c:v>41439</c:v>
                </c:pt>
                <c:pt idx="1480">
                  <c:v>41442</c:v>
                </c:pt>
                <c:pt idx="1481">
                  <c:v>41443</c:v>
                </c:pt>
                <c:pt idx="1482">
                  <c:v>41444</c:v>
                </c:pt>
                <c:pt idx="1483">
                  <c:v>41445</c:v>
                </c:pt>
                <c:pt idx="1484">
                  <c:v>41446</c:v>
                </c:pt>
                <c:pt idx="1485">
                  <c:v>41449</c:v>
                </c:pt>
                <c:pt idx="1486">
                  <c:v>41450</c:v>
                </c:pt>
                <c:pt idx="1487">
                  <c:v>41451</c:v>
                </c:pt>
                <c:pt idx="1488">
                  <c:v>41452</c:v>
                </c:pt>
                <c:pt idx="1489">
                  <c:v>41453</c:v>
                </c:pt>
                <c:pt idx="1490">
                  <c:v>41456</c:v>
                </c:pt>
                <c:pt idx="1491">
                  <c:v>41457</c:v>
                </c:pt>
                <c:pt idx="1492">
                  <c:v>41458</c:v>
                </c:pt>
                <c:pt idx="1493">
                  <c:v>41459</c:v>
                </c:pt>
                <c:pt idx="1494">
                  <c:v>41460</c:v>
                </c:pt>
                <c:pt idx="1495">
                  <c:v>41463</c:v>
                </c:pt>
                <c:pt idx="1496">
                  <c:v>41464</c:v>
                </c:pt>
                <c:pt idx="1497">
                  <c:v>41465</c:v>
                </c:pt>
                <c:pt idx="1498">
                  <c:v>41466</c:v>
                </c:pt>
                <c:pt idx="1499">
                  <c:v>41467</c:v>
                </c:pt>
                <c:pt idx="1500">
                  <c:v>41470</c:v>
                </c:pt>
                <c:pt idx="1501">
                  <c:v>41471</c:v>
                </c:pt>
                <c:pt idx="1502">
                  <c:v>41472</c:v>
                </c:pt>
                <c:pt idx="1503">
                  <c:v>41473</c:v>
                </c:pt>
                <c:pt idx="1504">
                  <c:v>41474</c:v>
                </c:pt>
                <c:pt idx="1505">
                  <c:v>41477</c:v>
                </c:pt>
                <c:pt idx="1506">
                  <c:v>41478</c:v>
                </c:pt>
                <c:pt idx="1507">
                  <c:v>41479</c:v>
                </c:pt>
                <c:pt idx="1508">
                  <c:v>41480</c:v>
                </c:pt>
                <c:pt idx="1509">
                  <c:v>41481</c:v>
                </c:pt>
                <c:pt idx="1510">
                  <c:v>41484</c:v>
                </c:pt>
                <c:pt idx="1511">
                  <c:v>41485</c:v>
                </c:pt>
                <c:pt idx="1512">
                  <c:v>41486</c:v>
                </c:pt>
                <c:pt idx="1513">
                  <c:v>41487</c:v>
                </c:pt>
                <c:pt idx="1514">
                  <c:v>41488</c:v>
                </c:pt>
                <c:pt idx="1515">
                  <c:v>41491</c:v>
                </c:pt>
                <c:pt idx="1516">
                  <c:v>41492</c:v>
                </c:pt>
                <c:pt idx="1517">
                  <c:v>41493</c:v>
                </c:pt>
                <c:pt idx="1518">
                  <c:v>41494</c:v>
                </c:pt>
                <c:pt idx="1519">
                  <c:v>41495</c:v>
                </c:pt>
                <c:pt idx="1520">
                  <c:v>41498</c:v>
                </c:pt>
                <c:pt idx="1521">
                  <c:v>41499</c:v>
                </c:pt>
                <c:pt idx="1522">
                  <c:v>41500</c:v>
                </c:pt>
                <c:pt idx="1523">
                  <c:v>41501</c:v>
                </c:pt>
                <c:pt idx="1524">
                  <c:v>41502</c:v>
                </c:pt>
                <c:pt idx="1525">
                  <c:v>41505</c:v>
                </c:pt>
                <c:pt idx="1526">
                  <c:v>41506</c:v>
                </c:pt>
                <c:pt idx="1527">
                  <c:v>41507</c:v>
                </c:pt>
                <c:pt idx="1528">
                  <c:v>41508</c:v>
                </c:pt>
                <c:pt idx="1529">
                  <c:v>41509</c:v>
                </c:pt>
                <c:pt idx="1530">
                  <c:v>41512</c:v>
                </c:pt>
                <c:pt idx="1531">
                  <c:v>41513</c:v>
                </c:pt>
                <c:pt idx="1532">
                  <c:v>41514</c:v>
                </c:pt>
                <c:pt idx="1533">
                  <c:v>41515</c:v>
                </c:pt>
                <c:pt idx="1534">
                  <c:v>41516</c:v>
                </c:pt>
                <c:pt idx="1535">
                  <c:v>41519</c:v>
                </c:pt>
                <c:pt idx="1536">
                  <c:v>41520</c:v>
                </c:pt>
                <c:pt idx="1537">
                  <c:v>41521</c:v>
                </c:pt>
                <c:pt idx="1538">
                  <c:v>41522</c:v>
                </c:pt>
                <c:pt idx="1539">
                  <c:v>41523</c:v>
                </c:pt>
                <c:pt idx="1540">
                  <c:v>41526</c:v>
                </c:pt>
                <c:pt idx="1541">
                  <c:v>41527</c:v>
                </c:pt>
                <c:pt idx="1542">
                  <c:v>41528</c:v>
                </c:pt>
                <c:pt idx="1543">
                  <c:v>41529</c:v>
                </c:pt>
                <c:pt idx="1544">
                  <c:v>41530</c:v>
                </c:pt>
                <c:pt idx="1545">
                  <c:v>41533</c:v>
                </c:pt>
                <c:pt idx="1546">
                  <c:v>41534</c:v>
                </c:pt>
                <c:pt idx="1547">
                  <c:v>41535</c:v>
                </c:pt>
                <c:pt idx="1548">
                  <c:v>41536</c:v>
                </c:pt>
                <c:pt idx="1549">
                  <c:v>41537</c:v>
                </c:pt>
                <c:pt idx="1550">
                  <c:v>41540</c:v>
                </c:pt>
                <c:pt idx="1551">
                  <c:v>41541</c:v>
                </c:pt>
                <c:pt idx="1552">
                  <c:v>41542</c:v>
                </c:pt>
                <c:pt idx="1553">
                  <c:v>41543</c:v>
                </c:pt>
                <c:pt idx="1554">
                  <c:v>41544</c:v>
                </c:pt>
                <c:pt idx="1555">
                  <c:v>41547</c:v>
                </c:pt>
                <c:pt idx="1556">
                  <c:v>41548</c:v>
                </c:pt>
                <c:pt idx="1557">
                  <c:v>41549</c:v>
                </c:pt>
                <c:pt idx="1558">
                  <c:v>41550</c:v>
                </c:pt>
                <c:pt idx="1559">
                  <c:v>41551</c:v>
                </c:pt>
                <c:pt idx="1560">
                  <c:v>41554</c:v>
                </c:pt>
                <c:pt idx="1561">
                  <c:v>41555</c:v>
                </c:pt>
                <c:pt idx="1562">
                  <c:v>41556</c:v>
                </c:pt>
                <c:pt idx="1563">
                  <c:v>41557</c:v>
                </c:pt>
                <c:pt idx="1564">
                  <c:v>41558</c:v>
                </c:pt>
                <c:pt idx="1565">
                  <c:v>41561</c:v>
                </c:pt>
                <c:pt idx="1566">
                  <c:v>41562</c:v>
                </c:pt>
                <c:pt idx="1567">
                  <c:v>41563</c:v>
                </c:pt>
                <c:pt idx="1568">
                  <c:v>41564</c:v>
                </c:pt>
                <c:pt idx="1569">
                  <c:v>41565</c:v>
                </c:pt>
                <c:pt idx="1570">
                  <c:v>41568</c:v>
                </c:pt>
                <c:pt idx="1571">
                  <c:v>41569</c:v>
                </c:pt>
                <c:pt idx="1572">
                  <c:v>41570</c:v>
                </c:pt>
                <c:pt idx="1573">
                  <c:v>41571</c:v>
                </c:pt>
                <c:pt idx="1574">
                  <c:v>41572</c:v>
                </c:pt>
                <c:pt idx="1575">
                  <c:v>41575</c:v>
                </c:pt>
                <c:pt idx="1576">
                  <c:v>41576</c:v>
                </c:pt>
                <c:pt idx="1577">
                  <c:v>41577</c:v>
                </c:pt>
                <c:pt idx="1578">
                  <c:v>41578</c:v>
                </c:pt>
                <c:pt idx="1579">
                  <c:v>41579</c:v>
                </c:pt>
                <c:pt idx="1580">
                  <c:v>41582</c:v>
                </c:pt>
                <c:pt idx="1581">
                  <c:v>41583</c:v>
                </c:pt>
                <c:pt idx="1582">
                  <c:v>41584</c:v>
                </c:pt>
                <c:pt idx="1583">
                  <c:v>41585</c:v>
                </c:pt>
                <c:pt idx="1584">
                  <c:v>41586</c:v>
                </c:pt>
                <c:pt idx="1585">
                  <c:v>41589</c:v>
                </c:pt>
                <c:pt idx="1586">
                  <c:v>41590</c:v>
                </c:pt>
                <c:pt idx="1587">
                  <c:v>41591</c:v>
                </c:pt>
                <c:pt idx="1588">
                  <c:v>41592</c:v>
                </c:pt>
                <c:pt idx="1589">
                  <c:v>41593</c:v>
                </c:pt>
                <c:pt idx="1590">
                  <c:v>41596</c:v>
                </c:pt>
                <c:pt idx="1591">
                  <c:v>41597</c:v>
                </c:pt>
                <c:pt idx="1592">
                  <c:v>41598</c:v>
                </c:pt>
                <c:pt idx="1593">
                  <c:v>41599</c:v>
                </c:pt>
                <c:pt idx="1594">
                  <c:v>41600</c:v>
                </c:pt>
                <c:pt idx="1595">
                  <c:v>41603</c:v>
                </c:pt>
                <c:pt idx="1596">
                  <c:v>41604</c:v>
                </c:pt>
                <c:pt idx="1597">
                  <c:v>41605</c:v>
                </c:pt>
                <c:pt idx="1598">
                  <c:v>41606</c:v>
                </c:pt>
                <c:pt idx="1599">
                  <c:v>41607</c:v>
                </c:pt>
                <c:pt idx="1600">
                  <c:v>41610</c:v>
                </c:pt>
                <c:pt idx="1601">
                  <c:v>41611</c:v>
                </c:pt>
                <c:pt idx="1602">
                  <c:v>41612</c:v>
                </c:pt>
                <c:pt idx="1603">
                  <c:v>41613</c:v>
                </c:pt>
                <c:pt idx="1604">
                  <c:v>41614</c:v>
                </c:pt>
                <c:pt idx="1605">
                  <c:v>41617</c:v>
                </c:pt>
                <c:pt idx="1606">
                  <c:v>41618</c:v>
                </c:pt>
                <c:pt idx="1607">
                  <c:v>41619</c:v>
                </c:pt>
                <c:pt idx="1608">
                  <c:v>41620</c:v>
                </c:pt>
                <c:pt idx="1609">
                  <c:v>41621</c:v>
                </c:pt>
                <c:pt idx="1610">
                  <c:v>41624</c:v>
                </c:pt>
                <c:pt idx="1611">
                  <c:v>41625</c:v>
                </c:pt>
                <c:pt idx="1612">
                  <c:v>41626</c:v>
                </c:pt>
                <c:pt idx="1613">
                  <c:v>41627</c:v>
                </c:pt>
                <c:pt idx="1614">
                  <c:v>41628</c:v>
                </c:pt>
                <c:pt idx="1615">
                  <c:v>41631</c:v>
                </c:pt>
                <c:pt idx="1616">
                  <c:v>41632</c:v>
                </c:pt>
                <c:pt idx="1617">
                  <c:v>41635</c:v>
                </c:pt>
                <c:pt idx="1618">
                  <c:v>41638</c:v>
                </c:pt>
                <c:pt idx="1619">
                  <c:v>41639</c:v>
                </c:pt>
                <c:pt idx="1620">
                  <c:v>41641</c:v>
                </c:pt>
                <c:pt idx="1621">
                  <c:v>41642</c:v>
                </c:pt>
                <c:pt idx="1622">
                  <c:v>41645</c:v>
                </c:pt>
                <c:pt idx="1623">
                  <c:v>41646</c:v>
                </c:pt>
                <c:pt idx="1624">
                  <c:v>41647</c:v>
                </c:pt>
                <c:pt idx="1625">
                  <c:v>41648</c:v>
                </c:pt>
                <c:pt idx="1626">
                  <c:v>41649</c:v>
                </c:pt>
                <c:pt idx="1627">
                  <c:v>41652</c:v>
                </c:pt>
                <c:pt idx="1628">
                  <c:v>41653</c:v>
                </c:pt>
                <c:pt idx="1629">
                  <c:v>41654</c:v>
                </c:pt>
                <c:pt idx="1630">
                  <c:v>41655</c:v>
                </c:pt>
                <c:pt idx="1631">
                  <c:v>41656</c:v>
                </c:pt>
                <c:pt idx="1632">
                  <c:v>41659</c:v>
                </c:pt>
                <c:pt idx="1633">
                  <c:v>41660</c:v>
                </c:pt>
                <c:pt idx="1634">
                  <c:v>41661</c:v>
                </c:pt>
                <c:pt idx="1635">
                  <c:v>41662</c:v>
                </c:pt>
                <c:pt idx="1636">
                  <c:v>41663</c:v>
                </c:pt>
                <c:pt idx="1637">
                  <c:v>41666</c:v>
                </c:pt>
                <c:pt idx="1638">
                  <c:v>41667</c:v>
                </c:pt>
                <c:pt idx="1639">
                  <c:v>41668</c:v>
                </c:pt>
                <c:pt idx="1640">
                  <c:v>41669</c:v>
                </c:pt>
                <c:pt idx="1641">
                  <c:v>41670</c:v>
                </c:pt>
                <c:pt idx="1642">
                  <c:v>41673</c:v>
                </c:pt>
                <c:pt idx="1643">
                  <c:v>41674</c:v>
                </c:pt>
                <c:pt idx="1644">
                  <c:v>41675</c:v>
                </c:pt>
                <c:pt idx="1645">
                  <c:v>41676</c:v>
                </c:pt>
                <c:pt idx="1646">
                  <c:v>41677</c:v>
                </c:pt>
                <c:pt idx="1647">
                  <c:v>41680</c:v>
                </c:pt>
                <c:pt idx="1648">
                  <c:v>41681</c:v>
                </c:pt>
                <c:pt idx="1649">
                  <c:v>41682</c:v>
                </c:pt>
                <c:pt idx="1650">
                  <c:v>41683</c:v>
                </c:pt>
                <c:pt idx="1651">
                  <c:v>41684</c:v>
                </c:pt>
                <c:pt idx="1652">
                  <c:v>41687</c:v>
                </c:pt>
                <c:pt idx="1653">
                  <c:v>41688</c:v>
                </c:pt>
                <c:pt idx="1654">
                  <c:v>41689</c:v>
                </c:pt>
                <c:pt idx="1655">
                  <c:v>41690</c:v>
                </c:pt>
                <c:pt idx="1656">
                  <c:v>41691</c:v>
                </c:pt>
                <c:pt idx="1657">
                  <c:v>41694</c:v>
                </c:pt>
                <c:pt idx="1658">
                  <c:v>41695</c:v>
                </c:pt>
                <c:pt idx="1659">
                  <c:v>41696</c:v>
                </c:pt>
                <c:pt idx="1660">
                  <c:v>41697</c:v>
                </c:pt>
                <c:pt idx="1661">
                  <c:v>41698</c:v>
                </c:pt>
                <c:pt idx="1662">
                  <c:v>41701</c:v>
                </c:pt>
                <c:pt idx="1663">
                  <c:v>41702</c:v>
                </c:pt>
                <c:pt idx="1664">
                  <c:v>41703</c:v>
                </c:pt>
                <c:pt idx="1665">
                  <c:v>41704</c:v>
                </c:pt>
                <c:pt idx="1666">
                  <c:v>41705</c:v>
                </c:pt>
                <c:pt idx="1667">
                  <c:v>41708</c:v>
                </c:pt>
                <c:pt idx="1668">
                  <c:v>41709</c:v>
                </c:pt>
                <c:pt idx="1669">
                  <c:v>41710</c:v>
                </c:pt>
                <c:pt idx="1670">
                  <c:v>41711</c:v>
                </c:pt>
                <c:pt idx="1671">
                  <c:v>41712</c:v>
                </c:pt>
                <c:pt idx="1672">
                  <c:v>41715</c:v>
                </c:pt>
                <c:pt idx="1673">
                  <c:v>41716</c:v>
                </c:pt>
                <c:pt idx="1674">
                  <c:v>41717</c:v>
                </c:pt>
                <c:pt idx="1675">
                  <c:v>41718</c:v>
                </c:pt>
                <c:pt idx="1676">
                  <c:v>41719</c:v>
                </c:pt>
                <c:pt idx="1677">
                  <c:v>41722</c:v>
                </c:pt>
                <c:pt idx="1678">
                  <c:v>41723</c:v>
                </c:pt>
                <c:pt idx="1679">
                  <c:v>41724</c:v>
                </c:pt>
                <c:pt idx="1680">
                  <c:v>41725</c:v>
                </c:pt>
                <c:pt idx="1681">
                  <c:v>41726</c:v>
                </c:pt>
                <c:pt idx="1682">
                  <c:v>41729</c:v>
                </c:pt>
                <c:pt idx="1683">
                  <c:v>41730</c:v>
                </c:pt>
                <c:pt idx="1684">
                  <c:v>41731</c:v>
                </c:pt>
                <c:pt idx="1685">
                  <c:v>41732</c:v>
                </c:pt>
                <c:pt idx="1686">
                  <c:v>41733</c:v>
                </c:pt>
                <c:pt idx="1687">
                  <c:v>41736</c:v>
                </c:pt>
                <c:pt idx="1688">
                  <c:v>41737</c:v>
                </c:pt>
                <c:pt idx="1689">
                  <c:v>41738</c:v>
                </c:pt>
                <c:pt idx="1690">
                  <c:v>41739</c:v>
                </c:pt>
                <c:pt idx="1691">
                  <c:v>41740</c:v>
                </c:pt>
                <c:pt idx="1692">
                  <c:v>41743</c:v>
                </c:pt>
                <c:pt idx="1693">
                  <c:v>41744</c:v>
                </c:pt>
                <c:pt idx="1694">
                  <c:v>41745</c:v>
                </c:pt>
                <c:pt idx="1695">
                  <c:v>41746</c:v>
                </c:pt>
                <c:pt idx="1696">
                  <c:v>41751</c:v>
                </c:pt>
                <c:pt idx="1697">
                  <c:v>41752</c:v>
                </c:pt>
                <c:pt idx="1698">
                  <c:v>41753</c:v>
                </c:pt>
                <c:pt idx="1699">
                  <c:v>41754</c:v>
                </c:pt>
                <c:pt idx="1700">
                  <c:v>41757</c:v>
                </c:pt>
                <c:pt idx="1701">
                  <c:v>41758</c:v>
                </c:pt>
                <c:pt idx="1702">
                  <c:v>41759</c:v>
                </c:pt>
                <c:pt idx="1703">
                  <c:v>41760</c:v>
                </c:pt>
                <c:pt idx="1704">
                  <c:v>41761</c:v>
                </c:pt>
                <c:pt idx="1705">
                  <c:v>41764</c:v>
                </c:pt>
                <c:pt idx="1706">
                  <c:v>41765</c:v>
                </c:pt>
                <c:pt idx="1707">
                  <c:v>41766</c:v>
                </c:pt>
                <c:pt idx="1708">
                  <c:v>41767</c:v>
                </c:pt>
                <c:pt idx="1709">
                  <c:v>41768</c:v>
                </c:pt>
                <c:pt idx="1710">
                  <c:v>41771</c:v>
                </c:pt>
                <c:pt idx="1711">
                  <c:v>41772</c:v>
                </c:pt>
                <c:pt idx="1712">
                  <c:v>41773</c:v>
                </c:pt>
                <c:pt idx="1713">
                  <c:v>41774</c:v>
                </c:pt>
                <c:pt idx="1714">
                  <c:v>41775</c:v>
                </c:pt>
                <c:pt idx="1715">
                  <c:v>41778</c:v>
                </c:pt>
                <c:pt idx="1716">
                  <c:v>41779</c:v>
                </c:pt>
                <c:pt idx="1717">
                  <c:v>41780</c:v>
                </c:pt>
                <c:pt idx="1718">
                  <c:v>41781</c:v>
                </c:pt>
                <c:pt idx="1719">
                  <c:v>41782</c:v>
                </c:pt>
                <c:pt idx="1720">
                  <c:v>41785</c:v>
                </c:pt>
                <c:pt idx="1721">
                  <c:v>41786</c:v>
                </c:pt>
                <c:pt idx="1722">
                  <c:v>41787</c:v>
                </c:pt>
                <c:pt idx="1723">
                  <c:v>41788</c:v>
                </c:pt>
                <c:pt idx="1724">
                  <c:v>41789</c:v>
                </c:pt>
                <c:pt idx="1725">
                  <c:v>41792</c:v>
                </c:pt>
                <c:pt idx="1726">
                  <c:v>41793</c:v>
                </c:pt>
                <c:pt idx="1727">
                  <c:v>41794</c:v>
                </c:pt>
                <c:pt idx="1728">
                  <c:v>41795</c:v>
                </c:pt>
                <c:pt idx="1729">
                  <c:v>41796</c:v>
                </c:pt>
                <c:pt idx="1730">
                  <c:v>41799</c:v>
                </c:pt>
                <c:pt idx="1731">
                  <c:v>41800</c:v>
                </c:pt>
                <c:pt idx="1732">
                  <c:v>41801</c:v>
                </c:pt>
                <c:pt idx="1733">
                  <c:v>41802</c:v>
                </c:pt>
                <c:pt idx="1734">
                  <c:v>41803</c:v>
                </c:pt>
                <c:pt idx="1735">
                  <c:v>41806</c:v>
                </c:pt>
                <c:pt idx="1736">
                  <c:v>41807</c:v>
                </c:pt>
                <c:pt idx="1737">
                  <c:v>41808</c:v>
                </c:pt>
                <c:pt idx="1738">
                  <c:v>41809</c:v>
                </c:pt>
                <c:pt idx="1739">
                  <c:v>41810</c:v>
                </c:pt>
                <c:pt idx="1740">
                  <c:v>41813</c:v>
                </c:pt>
                <c:pt idx="1741">
                  <c:v>41814</c:v>
                </c:pt>
                <c:pt idx="1742">
                  <c:v>41815</c:v>
                </c:pt>
                <c:pt idx="1743">
                  <c:v>41816</c:v>
                </c:pt>
                <c:pt idx="1744">
                  <c:v>41817</c:v>
                </c:pt>
                <c:pt idx="1745">
                  <c:v>41820</c:v>
                </c:pt>
                <c:pt idx="1746">
                  <c:v>41821</c:v>
                </c:pt>
                <c:pt idx="1747">
                  <c:v>41822</c:v>
                </c:pt>
                <c:pt idx="1748">
                  <c:v>41823</c:v>
                </c:pt>
                <c:pt idx="1749">
                  <c:v>41824</c:v>
                </c:pt>
                <c:pt idx="1750">
                  <c:v>41827</c:v>
                </c:pt>
                <c:pt idx="1751">
                  <c:v>41828</c:v>
                </c:pt>
                <c:pt idx="1752">
                  <c:v>41829</c:v>
                </c:pt>
                <c:pt idx="1753">
                  <c:v>41830</c:v>
                </c:pt>
                <c:pt idx="1754">
                  <c:v>41831</c:v>
                </c:pt>
                <c:pt idx="1755">
                  <c:v>41834</c:v>
                </c:pt>
                <c:pt idx="1756">
                  <c:v>41835</c:v>
                </c:pt>
                <c:pt idx="1757">
                  <c:v>41836</c:v>
                </c:pt>
                <c:pt idx="1758">
                  <c:v>41837</c:v>
                </c:pt>
                <c:pt idx="1759">
                  <c:v>41838</c:v>
                </c:pt>
                <c:pt idx="1760">
                  <c:v>41841</c:v>
                </c:pt>
                <c:pt idx="1761">
                  <c:v>41842</c:v>
                </c:pt>
                <c:pt idx="1762">
                  <c:v>41843</c:v>
                </c:pt>
                <c:pt idx="1763">
                  <c:v>41844</c:v>
                </c:pt>
                <c:pt idx="1764">
                  <c:v>41845</c:v>
                </c:pt>
                <c:pt idx="1765">
                  <c:v>41848</c:v>
                </c:pt>
                <c:pt idx="1766">
                  <c:v>41849</c:v>
                </c:pt>
                <c:pt idx="1767">
                  <c:v>41850</c:v>
                </c:pt>
                <c:pt idx="1768">
                  <c:v>41851</c:v>
                </c:pt>
                <c:pt idx="1769">
                  <c:v>41852</c:v>
                </c:pt>
                <c:pt idx="1770">
                  <c:v>41855</c:v>
                </c:pt>
                <c:pt idx="1771">
                  <c:v>41856</c:v>
                </c:pt>
                <c:pt idx="1772">
                  <c:v>41857</c:v>
                </c:pt>
                <c:pt idx="1773">
                  <c:v>41858</c:v>
                </c:pt>
                <c:pt idx="1774">
                  <c:v>41859</c:v>
                </c:pt>
                <c:pt idx="1775">
                  <c:v>41862</c:v>
                </c:pt>
                <c:pt idx="1776">
                  <c:v>41863</c:v>
                </c:pt>
                <c:pt idx="1777">
                  <c:v>41864</c:v>
                </c:pt>
                <c:pt idx="1778">
                  <c:v>41865</c:v>
                </c:pt>
                <c:pt idx="1779">
                  <c:v>41866</c:v>
                </c:pt>
                <c:pt idx="1780">
                  <c:v>41869</c:v>
                </c:pt>
                <c:pt idx="1781">
                  <c:v>41870</c:v>
                </c:pt>
                <c:pt idx="1782">
                  <c:v>41871</c:v>
                </c:pt>
                <c:pt idx="1783">
                  <c:v>41872</c:v>
                </c:pt>
                <c:pt idx="1784">
                  <c:v>41873</c:v>
                </c:pt>
                <c:pt idx="1785">
                  <c:v>41876</c:v>
                </c:pt>
                <c:pt idx="1786">
                  <c:v>41877</c:v>
                </c:pt>
                <c:pt idx="1787">
                  <c:v>41878</c:v>
                </c:pt>
                <c:pt idx="1788">
                  <c:v>41879</c:v>
                </c:pt>
                <c:pt idx="1789">
                  <c:v>41880</c:v>
                </c:pt>
                <c:pt idx="1790">
                  <c:v>41883</c:v>
                </c:pt>
                <c:pt idx="1791">
                  <c:v>41884</c:v>
                </c:pt>
                <c:pt idx="1792">
                  <c:v>41885</c:v>
                </c:pt>
                <c:pt idx="1793">
                  <c:v>41886</c:v>
                </c:pt>
                <c:pt idx="1794">
                  <c:v>41887</c:v>
                </c:pt>
                <c:pt idx="1795">
                  <c:v>41890</c:v>
                </c:pt>
                <c:pt idx="1796">
                  <c:v>41891</c:v>
                </c:pt>
                <c:pt idx="1797">
                  <c:v>41892</c:v>
                </c:pt>
                <c:pt idx="1798">
                  <c:v>41893</c:v>
                </c:pt>
                <c:pt idx="1799">
                  <c:v>41894</c:v>
                </c:pt>
                <c:pt idx="1800">
                  <c:v>41897</c:v>
                </c:pt>
                <c:pt idx="1801">
                  <c:v>41898</c:v>
                </c:pt>
                <c:pt idx="1802">
                  <c:v>41899</c:v>
                </c:pt>
                <c:pt idx="1803">
                  <c:v>41900</c:v>
                </c:pt>
                <c:pt idx="1804">
                  <c:v>41901</c:v>
                </c:pt>
                <c:pt idx="1805">
                  <c:v>41904</c:v>
                </c:pt>
                <c:pt idx="1806">
                  <c:v>41905</c:v>
                </c:pt>
                <c:pt idx="1807">
                  <c:v>41906</c:v>
                </c:pt>
                <c:pt idx="1808">
                  <c:v>41907</c:v>
                </c:pt>
                <c:pt idx="1809">
                  <c:v>41908</c:v>
                </c:pt>
                <c:pt idx="1810">
                  <c:v>41911</c:v>
                </c:pt>
                <c:pt idx="1811">
                  <c:v>41912</c:v>
                </c:pt>
              </c:numCache>
            </c:numRef>
          </c:cat>
          <c:val>
            <c:numRef>
              <c:f>Sheet1!$C$2:$C$1813</c:f>
              <c:numCache>
                <c:formatCode>General</c:formatCode>
                <c:ptCount val="1812"/>
                <c:pt idx="0">
                  <c:v>100</c:v>
                </c:pt>
                <c:pt idx="1">
                  <c:v>100.74931528086404</c:v>
                </c:pt>
                <c:pt idx="2">
                  <c:v>100.67179990698156</c:v>
                </c:pt>
                <c:pt idx="3">
                  <c:v>100.7854891220092</c:v>
                </c:pt>
                <c:pt idx="4">
                  <c:v>101.64074208051264</c:v>
                </c:pt>
                <c:pt idx="5">
                  <c:v>101.68725130484214</c:v>
                </c:pt>
                <c:pt idx="6">
                  <c:v>102.26344891736861</c:v>
                </c:pt>
                <c:pt idx="7">
                  <c:v>101.93013280967394</c:v>
                </c:pt>
                <c:pt idx="8">
                  <c:v>101.71050591700688</c:v>
                </c:pt>
                <c:pt idx="9">
                  <c:v>102.15492739393315</c:v>
                </c:pt>
                <c:pt idx="10">
                  <c:v>101.17306599142164</c:v>
                </c:pt>
                <c:pt idx="11">
                  <c:v>100.622706836856</c:v>
                </c:pt>
                <c:pt idx="12">
                  <c:v>100.65888067800115</c:v>
                </c:pt>
                <c:pt idx="13">
                  <c:v>100.25580073381222</c:v>
                </c:pt>
                <c:pt idx="14">
                  <c:v>98.780424784248893</c:v>
                </c:pt>
                <c:pt idx="15">
                  <c:v>98.651232494444741</c:v>
                </c:pt>
                <c:pt idx="16">
                  <c:v>99.170585499457403</c:v>
                </c:pt>
                <c:pt idx="17">
                  <c:v>98.909617074053031</c:v>
                </c:pt>
                <c:pt idx="18">
                  <c:v>98.865691695519615</c:v>
                </c:pt>
                <c:pt idx="19">
                  <c:v>99.715776962430894</c:v>
                </c:pt>
                <c:pt idx="20">
                  <c:v>100.46509224329492</c:v>
                </c:pt>
                <c:pt idx="21">
                  <c:v>99.839801560642854</c:v>
                </c:pt>
                <c:pt idx="22">
                  <c:v>100.65888067800115</c:v>
                </c:pt>
                <c:pt idx="23">
                  <c:v>99.227430106971212</c:v>
                </c:pt>
                <c:pt idx="24">
                  <c:v>98.509120975660181</c:v>
                </c:pt>
                <c:pt idx="25">
                  <c:v>97.79081184434915</c:v>
                </c:pt>
                <c:pt idx="26">
                  <c:v>98.240401012867551</c:v>
                </c:pt>
                <c:pt idx="27">
                  <c:v>96.310268203193644</c:v>
                </c:pt>
                <c:pt idx="28">
                  <c:v>95.566120613921768</c:v>
                </c:pt>
                <c:pt idx="29">
                  <c:v>94.307787711229395</c:v>
                </c:pt>
                <c:pt idx="30">
                  <c:v>93.8995400754483</c:v>
                </c:pt>
                <c:pt idx="31">
                  <c:v>94.914991473308874</c:v>
                </c:pt>
                <c:pt idx="32">
                  <c:v>94.814221487261648</c:v>
                </c:pt>
                <c:pt idx="33">
                  <c:v>93.920210841816967</c:v>
                </c:pt>
                <c:pt idx="34">
                  <c:v>93.61531703787918</c:v>
                </c:pt>
                <c:pt idx="35">
                  <c:v>91.984910340550883</c:v>
                </c:pt>
                <c:pt idx="36">
                  <c:v>92.101183401374612</c:v>
                </c:pt>
                <c:pt idx="37">
                  <c:v>90.168466745904624</c:v>
                </c:pt>
                <c:pt idx="38">
                  <c:v>90.258901348767509</c:v>
                </c:pt>
                <c:pt idx="39">
                  <c:v>91.736861144126919</c:v>
                </c:pt>
                <c:pt idx="40">
                  <c:v>90.806676657537082</c:v>
                </c:pt>
                <c:pt idx="41">
                  <c:v>91.181334297969101</c:v>
                </c:pt>
                <c:pt idx="42">
                  <c:v>93.59981396310269</c:v>
                </c:pt>
                <c:pt idx="43">
                  <c:v>94.129502351299678</c:v>
                </c:pt>
                <c:pt idx="44">
                  <c:v>95.330990646478213</c:v>
                </c:pt>
                <c:pt idx="45">
                  <c:v>95.062270683685611</c:v>
                </c:pt>
                <c:pt idx="46">
                  <c:v>93.79877008940106</c:v>
                </c:pt>
                <c:pt idx="47">
                  <c:v>95.413673711952868</c:v>
                </c:pt>
                <c:pt idx="48">
                  <c:v>96.465298950958598</c:v>
                </c:pt>
                <c:pt idx="49">
                  <c:v>96.615162007131431</c:v>
                </c:pt>
                <c:pt idx="50">
                  <c:v>96.860627357759299</c:v>
                </c:pt>
                <c:pt idx="51">
                  <c:v>95.796082889773132</c:v>
                </c:pt>
                <c:pt idx="52">
                  <c:v>96.038964394604932</c:v>
                </c:pt>
                <c:pt idx="53">
                  <c:v>95.204382202470157</c:v>
                </c:pt>
                <c:pt idx="54">
                  <c:v>95.132034520179843</c:v>
                </c:pt>
                <c:pt idx="55">
                  <c:v>93.721254715518583</c:v>
                </c:pt>
                <c:pt idx="56">
                  <c:v>93.793602397808911</c:v>
                </c:pt>
                <c:pt idx="57">
                  <c:v>93.617900883675262</c:v>
                </c:pt>
                <c:pt idx="58">
                  <c:v>94.157924655056604</c:v>
                </c:pt>
                <c:pt idx="59">
                  <c:v>95.400754482972474</c:v>
                </c:pt>
                <c:pt idx="60">
                  <c:v>95.734070590667159</c:v>
                </c:pt>
                <c:pt idx="61">
                  <c:v>95.992455170275434</c:v>
                </c:pt>
                <c:pt idx="62">
                  <c:v>95.641052142008164</c:v>
                </c:pt>
                <c:pt idx="63">
                  <c:v>94.749625342359565</c:v>
                </c:pt>
                <c:pt idx="64">
                  <c:v>94.137253888687923</c:v>
                </c:pt>
                <c:pt idx="65">
                  <c:v>94.359464627151056</c:v>
                </c:pt>
                <c:pt idx="66">
                  <c:v>94.359464627151056</c:v>
                </c:pt>
                <c:pt idx="67">
                  <c:v>93.093380187070437</c:v>
                </c:pt>
                <c:pt idx="68">
                  <c:v>92.990026355227116</c:v>
                </c:pt>
                <c:pt idx="69">
                  <c:v>90.747248204227176</c:v>
                </c:pt>
                <c:pt idx="70">
                  <c:v>90.664565138752522</c:v>
                </c:pt>
                <c:pt idx="71">
                  <c:v>90.13487675055552</c:v>
                </c:pt>
                <c:pt idx="72">
                  <c:v>90.59480130225829</c:v>
                </c:pt>
                <c:pt idx="73">
                  <c:v>90.173634437496773</c:v>
                </c:pt>
                <c:pt idx="74">
                  <c:v>89.049661516200715</c:v>
                </c:pt>
                <c:pt idx="75">
                  <c:v>89.318381478993331</c:v>
                </c:pt>
                <c:pt idx="76">
                  <c:v>87.372745594542906</c:v>
                </c:pt>
                <c:pt idx="77">
                  <c:v>86.861144126918504</c:v>
                </c:pt>
                <c:pt idx="78">
                  <c:v>85.675158906516458</c:v>
                </c:pt>
                <c:pt idx="79">
                  <c:v>85.411606635316005</c:v>
                </c:pt>
                <c:pt idx="80">
                  <c:v>83.652007648183556</c:v>
                </c:pt>
                <c:pt idx="81">
                  <c:v>82.559040876440491</c:v>
                </c:pt>
                <c:pt idx="82">
                  <c:v>83.2825176993437</c:v>
                </c:pt>
                <c:pt idx="83">
                  <c:v>84.910340550875929</c:v>
                </c:pt>
                <c:pt idx="84">
                  <c:v>85.034365149087904</c:v>
                </c:pt>
                <c:pt idx="85">
                  <c:v>84.628701359102891</c:v>
                </c:pt>
                <c:pt idx="86">
                  <c:v>85.690661981292962</c:v>
                </c:pt>
                <c:pt idx="87">
                  <c:v>85.065371298640912</c:v>
                </c:pt>
                <c:pt idx="88">
                  <c:v>85.938711177716925</c:v>
                </c:pt>
                <c:pt idx="89">
                  <c:v>87.104025631750304</c:v>
                </c:pt>
                <c:pt idx="90">
                  <c:v>87.021342566275649</c:v>
                </c:pt>
                <c:pt idx="91">
                  <c:v>85.215234354813703</c:v>
                </c:pt>
                <c:pt idx="92">
                  <c:v>84.427161387008425</c:v>
                </c:pt>
                <c:pt idx="93">
                  <c:v>84.809570564828689</c:v>
                </c:pt>
                <c:pt idx="94">
                  <c:v>84.721719807761872</c:v>
                </c:pt>
                <c:pt idx="95">
                  <c:v>84.685545966616715</c:v>
                </c:pt>
                <c:pt idx="96">
                  <c:v>85.553718154100565</c:v>
                </c:pt>
                <c:pt idx="97">
                  <c:v>86.137667304015295</c:v>
                </c:pt>
                <c:pt idx="98">
                  <c:v>85.912872719756081</c:v>
                </c:pt>
                <c:pt idx="99">
                  <c:v>85.155805901503797</c:v>
                </c:pt>
                <c:pt idx="100">
                  <c:v>85.747506588806786</c:v>
                </c:pt>
                <c:pt idx="101">
                  <c:v>85.682910443904717</c:v>
                </c:pt>
                <c:pt idx="102">
                  <c:v>85.589891995245722</c:v>
                </c:pt>
                <c:pt idx="103">
                  <c:v>85.067955144436993</c:v>
                </c:pt>
                <c:pt idx="104">
                  <c:v>84.990439770554502</c:v>
                </c:pt>
                <c:pt idx="105">
                  <c:v>86.23068575267429</c:v>
                </c:pt>
                <c:pt idx="106">
                  <c:v>86.837889514753769</c:v>
                </c:pt>
                <c:pt idx="107">
                  <c:v>86.274611131207692</c:v>
                </c:pt>
                <c:pt idx="108">
                  <c:v>85.106712831378232</c:v>
                </c:pt>
                <c:pt idx="109">
                  <c:v>83.440132292904764</c:v>
                </c:pt>
                <c:pt idx="110">
                  <c:v>82.491860885742341</c:v>
                </c:pt>
                <c:pt idx="111">
                  <c:v>81.791638675003881</c:v>
                </c:pt>
                <c:pt idx="112">
                  <c:v>82.339413983773454</c:v>
                </c:pt>
                <c:pt idx="113">
                  <c:v>81.078497235285013</c:v>
                </c:pt>
                <c:pt idx="114">
                  <c:v>80.013952767298861</c:v>
                </c:pt>
                <c:pt idx="115">
                  <c:v>78.804712934732052</c:v>
                </c:pt>
                <c:pt idx="116">
                  <c:v>80.693504211668653</c:v>
                </c:pt>
                <c:pt idx="117">
                  <c:v>80.458374244225112</c:v>
                </c:pt>
                <c:pt idx="118">
                  <c:v>79.802077412020054</c:v>
                </c:pt>
                <c:pt idx="119">
                  <c:v>78.535992971939436</c:v>
                </c:pt>
                <c:pt idx="120">
                  <c:v>76.096842540437194</c:v>
                </c:pt>
                <c:pt idx="121">
                  <c:v>78.494651439202116</c:v>
                </c:pt>
                <c:pt idx="122">
                  <c:v>77.933956901452135</c:v>
                </c:pt>
                <c:pt idx="123">
                  <c:v>79.272389023823067</c:v>
                </c:pt>
                <c:pt idx="124">
                  <c:v>79.43517130897628</c:v>
                </c:pt>
                <c:pt idx="125">
                  <c:v>80.057878145832248</c:v>
                </c:pt>
                <c:pt idx="126">
                  <c:v>80.853702651025799</c:v>
                </c:pt>
                <c:pt idx="127">
                  <c:v>80.008785075706683</c:v>
                </c:pt>
                <c:pt idx="128">
                  <c:v>79.675468968011998</c:v>
                </c:pt>
                <c:pt idx="129">
                  <c:v>79.492015916490104</c:v>
                </c:pt>
                <c:pt idx="130">
                  <c:v>79.096687509689417</c:v>
                </c:pt>
                <c:pt idx="131">
                  <c:v>82.026768642447408</c:v>
                </c:pt>
                <c:pt idx="132">
                  <c:v>82.752829311146712</c:v>
                </c:pt>
                <c:pt idx="133">
                  <c:v>82.863934680378264</c:v>
                </c:pt>
                <c:pt idx="134">
                  <c:v>82.69856854942897</c:v>
                </c:pt>
                <c:pt idx="135">
                  <c:v>83.205002325461223</c:v>
                </c:pt>
                <c:pt idx="136">
                  <c:v>82.561624722236573</c:v>
                </c:pt>
                <c:pt idx="137">
                  <c:v>81.652111002015403</c:v>
                </c:pt>
                <c:pt idx="138">
                  <c:v>81.752880988062628</c:v>
                </c:pt>
                <c:pt idx="139">
                  <c:v>80.665081907911741</c:v>
                </c:pt>
                <c:pt idx="140">
                  <c:v>79.954524313988941</c:v>
                </c:pt>
                <c:pt idx="141">
                  <c:v>80.46354193581729</c:v>
                </c:pt>
                <c:pt idx="142">
                  <c:v>81.608185623481987</c:v>
                </c:pt>
                <c:pt idx="143">
                  <c:v>81.701204072140982</c:v>
                </c:pt>
                <c:pt idx="144">
                  <c:v>83.507312283602914</c:v>
                </c:pt>
                <c:pt idx="145">
                  <c:v>83.016381582347179</c:v>
                </c:pt>
                <c:pt idx="146">
                  <c:v>82.202470156581057</c:v>
                </c:pt>
                <c:pt idx="147">
                  <c:v>82.814841610252699</c:v>
                </c:pt>
                <c:pt idx="148">
                  <c:v>83.546069970544153</c:v>
                </c:pt>
                <c:pt idx="149">
                  <c:v>84.553769831016496</c:v>
                </c:pt>
                <c:pt idx="150">
                  <c:v>84.879334401322936</c:v>
                </c:pt>
                <c:pt idx="151">
                  <c:v>84.615782130122483</c:v>
                </c:pt>
                <c:pt idx="152">
                  <c:v>84.775980569479628</c:v>
                </c:pt>
                <c:pt idx="153">
                  <c:v>85.783680429951943</c:v>
                </c:pt>
                <c:pt idx="154">
                  <c:v>86.910237197044097</c:v>
                </c:pt>
                <c:pt idx="155">
                  <c:v>86.46323187432175</c:v>
                </c:pt>
                <c:pt idx="156">
                  <c:v>86.481318794894321</c:v>
                </c:pt>
                <c:pt idx="157">
                  <c:v>86.592424164125887</c:v>
                </c:pt>
                <c:pt idx="158">
                  <c:v>86.713864916541795</c:v>
                </c:pt>
                <c:pt idx="159">
                  <c:v>85.876698878610938</c:v>
                </c:pt>
                <c:pt idx="160">
                  <c:v>86.194511911529119</c:v>
                </c:pt>
                <c:pt idx="161">
                  <c:v>86.297865743372441</c:v>
                </c:pt>
                <c:pt idx="162">
                  <c:v>86.721616453930025</c:v>
                </c:pt>
                <c:pt idx="163">
                  <c:v>87.442509431037166</c:v>
                </c:pt>
                <c:pt idx="164">
                  <c:v>87.625962482559032</c:v>
                </c:pt>
                <c:pt idx="165">
                  <c:v>88.17373779132862</c:v>
                </c:pt>
                <c:pt idx="166">
                  <c:v>86.778461061443863</c:v>
                </c:pt>
                <c:pt idx="167">
                  <c:v>85.230737429590206</c:v>
                </c:pt>
                <c:pt idx="168">
                  <c:v>85.597643532633967</c:v>
                </c:pt>
                <c:pt idx="169">
                  <c:v>84.406490620639772</c:v>
                </c:pt>
                <c:pt idx="170">
                  <c:v>84.021497597023426</c:v>
                </c:pt>
                <c:pt idx="171">
                  <c:v>84.427161387008425</c:v>
                </c:pt>
                <c:pt idx="172">
                  <c:v>85.026613611699659</c:v>
                </c:pt>
                <c:pt idx="173">
                  <c:v>85.848276574854026</c:v>
                </c:pt>
                <c:pt idx="174">
                  <c:v>86.186760374140874</c:v>
                </c:pt>
                <c:pt idx="175">
                  <c:v>85.747506588806786</c:v>
                </c:pt>
                <c:pt idx="176">
                  <c:v>85.711332747661629</c:v>
                </c:pt>
                <c:pt idx="177">
                  <c:v>85.582140457857477</c:v>
                </c:pt>
                <c:pt idx="178">
                  <c:v>85.835357345873604</c:v>
                </c:pt>
                <c:pt idx="179">
                  <c:v>83.571908428504997</c:v>
                </c:pt>
                <c:pt idx="180">
                  <c:v>83.15074156374348</c:v>
                </c:pt>
                <c:pt idx="181">
                  <c:v>83.305772311508463</c:v>
                </c:pt>
                <c:pt idx="182">
                  <c:v>82.135290165882907</c:v>
                </c:pt>
                <c:pt idx="183">
                  <c:v>82.396258591287278</c:v>
                </c:pt>
                <c:pt idx="184">
                  <c:v>83.507312283602914</c:v>
                </c:pt>
                <c:pt idx="185">
                  <c:v>83.318691540488871</c:v>
                </c:pt>
                <c:pt idx="186">
                  <c:v>83.163660792723888</c:v>
                </c:pt>
                <c:pt idx="187">
                  <c:v>82.440183969820694</c:v>
                </c:pt>
                <c:pt idx="188">
                  <c:v>82.18179939021239</c:v>
                </c:pt>
                <c:pt idx="189">
                  <c:v>80.352436566585723</c:v>
                </c:pt>
                <c:pt idx="190">
                  <c:v>80.763268048162885</c:v>
                </c:pt>
                <c:pt idx="191">
                  <c:v>80.034623533667514</c:v>
                </c:pt>
                <c:pt idx="192">
                  <c:v>80.605653454601836</c:v>
                </c:pt>
                <c:pt idx="193">
                  <c:v>78.316366079272399</c:v>
                </c:pt>
                <c:pt idx="194">
                  <c:v>77.980466125781618</c:v>
                </c:pt>
                <c:pt idx="195">
                  <c:v>78.215596093225159</c:v>
                </c:pt>
                <c:pt idx="196">
                  <c:v>77.683323859232075</c:v>
                </c:pt>
                <c:pt idx="197">
                  <c:v>76.200196372280516</c:v>
                </c:pt>
                <c:pt idx="198">
                  <c:v>76.789313213787409</c:v>
                </c:pt>
                <c:pt idx="199">
                  <c:v>76.577437858508617</c:v>
                </c:pt>
                <c:pt idx="200">
                  <c:v>76.642034003410686</c:v>
                </c:pt>
                <c:pt idx="201">
                  <c:v>76.55676709213995</c:v>
                </c:pt>
                <c:pt idx="202">
                  <c:v>76.138184073174514</c:v>
                </c:pt>
                <c:pt idx="203">
                  <c:v>75.732520283189501</c:v>
                </c:pt>
                <c:pt idx="204">
                  <c:v>74.404423544002896</c:v>
                </c:pt>
                <c:pt idx="205">
                  <c:v>74.264895871014431</c:v>
                </c:pt>
                <c:pt idx="206">
                  <c:v>72.947134515012152</c:v>
                </c:pt>
                <c:pt idx="207">
                  <c:v>74.37083354865382</c:v>
                </c:pt>
                <c:pt idx="208">
                  <c:v>75.344943413777074</c:v>
                </c:pt>
                <c:pt idx="209">
                  <c:v>75.623998759754016</c:v>
                </c:pt>
                <c:pt idx="210">
                  <c:v>75.957314867448716</c:v>
                </c:pt>
                <c:pt idx="211">
                  <c:v>76.538680171567378</c:v>
                </c:pt>
                <c:pt idx="212">
                  <c:v>77.696243088212498</c:v>
                </c:pt>
                <c:pt idx="213">
                  <c:v>76.683375536148006</c:v>
                </c:pt>
                <c:pt idx="214">
                  <c:v>76.445661722908383</c:v>
                </c:pt>
                <c:pt idx="215">
                  <c:v>75.295850343651509</c:v>
                </c:pt>
                <c:pt idx="216">
                  <c:v>76.370730194821974</c:v>
                </c:pt>
                <c:pt idx="217">
                  <c:v>77.773758462094989</c:v>
                </c:pt>
                <c:pt idx="218">
                  <c:v>77.104542400909523</c:v>
                </c:pt>
                <c:pt idx="219">
                  <c:v>76.468916335073118</c:v>
                </c:pt>
                <c:pt idx="220">
                  <c:v>75.458632628804722</c:v>
                </c:pt>
                <c:pt idx="221">
                  <c:v>77.285411606635321</c:v>
                </c:pt>
                <c:pt idx="222">
                  <c:v>78.148416102527008</c:v>
                </c:pt>
                <c:pt idx="223">
                  <c:v>77.396516975866888</c:v>
                </c:pt>
                <c:pt idx="224">
                  <c:v>79.466177458529287</c:v>
                </c:pt>
                <c:pt idx="225">
                  <c:v>80.32918195442096</c:v>
                </c:pt>
                <c:pt idx="226">
                  <c:v>80.047542762647922</c:v>
                </c:pt>
                <c:pt idx="227">
                  <c:v>79.347320551909462</c:v>
                </c:pt>
                <c:pt idx="228">
                  <c:v>79.499767453878363</c:v>
                </c:pt>
                <c:pt idx="229">
                  <c:v>80.375691178750458</c:v>
                </c:pt>
                <c:pt idx="230">
                  <c:v>79.879592785902531</c:v>
                </c:pt>
                <c:pt idx="231">
                  <c:v>78.616092191618009</c:v>
                </c:pt>
                <c:pt idx="232">
                  <c:v>78.990749832050028</c:v>
                </c:pt>
                <c:pt idx="233">
                  <c:v>78.463645289649122</c:v>
                </c:pt>
                <c:pt idx="234">
                  <c:v>79.380910547258551</c:v>
                </c:pt>
                <c:pt idx="235">
                  <c:v>78.846054467469386</c:v>
                </c:pt>
                <c:pt idx="236">
                  <c:v>79.380910547258551</c:v>
                </c:pt>
                <c:pt idx="237">
                  <c:v>79.579866673556936</c:v>
                </c:pt>
                <c:pt idx="238">
                  <c:v>80.489380393778092</c:v>
                </c:pt>
                <c:pt idx="239">
                  <c:v>80.406697328303451</c:v>
                </c:pt>
                <c:pt idx="240">
                  <c:v>80.574647305048828</c:v>
                </c:pt>
                <c:pt idx="241">
                  <c:v>80.538473463903671</c:v>
                </c:pt>
                <c:pt idx="242">
                  <c:v>80.272337346907136</c:v>
                </c:pt>
                <c:pt idx="243">
                  <c:v>78.489483747609938</c:v>
                </c:pt>
                <c:pt idx="244">
                  <c:v>78.313782233476303</c:v>
                </c:pt>
                <c:pt idx="245">
                  <c:v>80.455790398429031</c:v>
                </c:pt>
                <c:pt idx="246">
                  <c:v>78.856389850653713</c:v>
                </c:pt>
                <c:pt idx="247">
                  <c:v>79.212960570513161</c:v>
                </c:pt>
                <c:pt idx="248">
                  <c:v>79.848586636349538</c:v>
                </c:pt>
                <c:pt idx="249">
                  <c:v>79.672885122215916</c:v>
                </c:pt>
                <c:pt idx="250">
                  <c:v>76.791897059583476</c:v>
                </c:pt>
                <c:pt idx="251">
                  <c:v>76.520593250994779</c:v>
                </c:pt>
                <c:pt idx="252">
                  <c:v>73.908325151154983</c:v>
                </c:pt>
                <c:pt idx="253">
                  <c:v>74.456100459924556</c:v>
                </c:pt>
                <c:pt idx="254">
                  <c:v>78.592837579453274</c:v>
                </c:pt>
                <c:pt idx="255">
                  <c:v>76.158854839543181</c:v>
                </c:pt>
                <c:pt idx="256">
                  <c:v>74.763578109658425</c:v>
                </c:pt>
                <c:pt idx="257">
                  <c:v>74.737739651697581</c:v>
                </c:pt>
                <c:pt idx="258">
                  <c:v>75.773861815926821</c:v>
                </c:pt>
                <c:pt idx="259">
                  <c:v>75.432794170843891</c:v>
                </c:pt>
                <c:pt idx="260">
                  <c:v>71.130690920365879</c:v>
                </c:pt>
                <c:pt idx="261">
                  <c:v>74.161542039171096</c:v>
                </c:pt>
                <c:pt idx="262">
                  <c:v>74.52844814221487</c:v>
                </c:pt>
                <c:pt idx="263">
                  <c:v>72.93421528603173</c:v>
                </c:pt>
                <c:pt idx="264">
                  <c:v>72.714588393364693</c:v>
                </c:pt>
                <c:pt idx="265">
                  <c:v>70.086817218748394</c:v>
                </c:pt>
                <c:pt idx="266">
                  <c:v>67.291096067386704</c:v>
                </c:pt>
                <c:pt idx="267">
                  <c:v>64.86486486486487</c:v>
                </c:pt>
                <c:pt idx="268">
                  <c:v>62.030386026561935</c:v>
                </c:pt>
                <c:pt idx="269">
                  <c:v>59.511136375381113</c:v>
                </c:pt>
                <c:pt idx="270">
                  <c:v>64.712417962895969</c:v>
                </c:pt>
                <c:pt idx="271">
                  <c:v>66.239470828380959</c:v>
                </c:pt>
                <c:pt idx="272">
                  <c:v>61.88052297038913</c:v>
                </c:pt>
                <c:pt idx="273">
                  <c:v>61.684150689886827</c:v>
                </c:pt>
                <c:pt idx="274">
                  <c:v>62.353366751072294</c:v>
                </c:pt>
                <c:pt idx="275">
                  <c:v>65.575422458787656</c:v>
                </c:pt>
                <c:pt idx="276">
                  <c:v>65.084491757531922</c:v>
                </c:pt>
                <c:pt idx="277">
                  <c:v>62.257764456617224</c:v>
                </c:pt>
                <c:pt idx="278">
                  <c:v>62.384372900625294</c:v>
                </c:pt>
                <c:pt idx="279">
                  <c:v>60.394811637641467</c:v>
                </c:pt>
                <c:pt idx="280">
                  <c:v>59.056379515270528</c:v>
                </c:pt>
                <c:pt idx="281">
                  <c:v>62.957986667355691</c:v>
                </c:pt>
                <c:pt idx="282">
                  <c:v>63.340395845175955</c:v>
                </c:pt>
                <c:pt idx="283">
                  <c:v>65.368714795101042</c:v>
                </c:pt>
                <c:pt idx="284">
                  <c:v>66.541780786522651</c:v>
                </c:pt>
                <c:pt idx="285">
                  <c:v>66.453930029455847</c:v>
                </c:pt>
                <c:pt idx="286">
                  <c:v>68.510671283137825</c:v>
                </c:pt>
                <c:pt idx="287">
                  <c:v>66.53402924913442</c:v>
                </c:pt>
                <c:pt idx="288">
                  <c:v>63.950183453051523</c:v>
                </c:pt>
                <c:pt idx="289">
                  <c:v>64.92170947237868</c:v>
                </c:pt>
                <c:pt idx="290">
                  <c:v>64.934628701359117</c:v>
                </c:pt>
                <c:pt idx="291">
                  <c:v>63.911425766110277</c:v>
                </c:pt>
                <c:pt idx="292">
                  <c:v>61.565293783267016</c:v>
                </c:pt>
                <c:pt idx="293">
                  <c:v>62.89080667665754</c:v>
                </c:pt>
                <c:pt idx="294">
                  <c:v>61.394759960725551</c:v>
                </c:pt>
                <c:pt idx="295">
                  <c:v>60.19585551134309</c:v>
                </c:pt>
                <c:pt idx="296">
                  <c:v>60.322463955351147</c:v>
                </c:pt>
                <c:pt idx="297">
                  <c:v>57.591338948891526</c:v>
                </c:pt>
                <c:pt idx="298">
                  <c:v>54.700015503074773</c:v>
                </c:pt>
                <c:pt idx="299">
                  <c:v>56.364012195752153</c:v>
                </c:pt>
                <c:pt idx="300">
                  <c:v>58.627461113120773</c:v>
                </c:pt>
                <c:pt idx="301">
                  <c:v>58.888429538525145</c:v>
                </c:pt>
                <c:pt idx="302">
                  <c:v>60.201023202935254</c:v>
                </c:pt>
                <c:pt idx="303">
                  <c:v>60.84956849775206</c:v>
                </c:pt>
                <c:pt idx="304">
                  <c:v>62.288770606170232</c:v>
                </c:pt>
                <c:pt idx="305">
                  <c:v>58.493101131724458</c:v>
                </c:pt>
                <c:pt idx="306">
                  <c:v>58.986615678776289</c:v>
                </c:pt>
                <c:pt idx="307">
                  <c:v>60.05374399255853</c:v>
                </c:pt>
                <c:pt idx="308">
                  <c:v>58.774740323497497</c:v>
                </c:pt>
                <c:pt idx="309">
                  <c:v>59.301844865898403</c:v>
                </c:pt>
                <c:pt idx="310">
                  <c:v>61.34308304480389</c:v>
                </c:pt>
                <c:pt idx="311">
                  <c:v>61.038189240866103</c:v>
                </c:pt>
                <c:pt idx="312">
                  <c:v>61.436101493462878</c:v>
                </c:pt>
                <c:pt idx="313">
                  <c:v>59.909048627977889</c:v>
                </c:pt>
                <c:pt idx="314">
                  <c:v>58.756653402924918</c:v>
                </c:pt>
                <c:pt idx="315">
                  <c:v>57.93240659397447</c:v>
                </c:pt>
                <c:pt idx="316">
                  <c:v>59.154565655521687</c:v>
                </c:pt>
                <c:pt idx="317">
                  <c:v>57.555165107746376</c:v>
                </c:pt>
                <c:pt idx="318">
                  <c:v>56.431192186450318</c:v>
                </c:pt>
                <c:pt idx="319">
                  <c:v>57.813549687354659</c:v>
                </c:pt>
                <c:pt idx="320">
                  <c:v>56.989302878404224</c:v>
                </c:pt>
                <c:pt idx="321">
                  <c:v>56.630148312748695</c:v>
                </c:pt>
                <c:pt idx="322">
                  <c:v>56.423440649062073</c:v>
                </c:pt>
                <c:pt idx="323">
                  <c:v>56.513875251924972</c:v>
                </c:pt>
                <c:pt idx="324">
                  <c:v>56.516459097721054</c:v>
                </c:pt>
                <c:pt idx="325">
                  <c:v>56.296832205054002</c:v>
                </c:pt>
                <c:pt idx="326">
                  <c:v>57.573252028318954</c:v>
                </c:pt>
                <c:pt idx="327">
                  <c:v>58.829001085215239</c:v>
                </c:pt>
                <c:pt idx="328">
                  <c:v>58.829001085215239</c:v>
                </c:pt>
                <c:pt idx="329">
                  <c:v>60.281122422613819</c:v>
                </c:pt>
                <c:pt idx="330">
                  <c:v>61.562709937470927</c:v>
                </c:pt>
                <c:pt idx="331">
                  <c:v>62.945067438375283</c:v>
                </c:pt>
                <c:pt idx="332">
                  <c:v>61.159629993282003</c:v>
                </c:pt>
                <c:pt idx="333">
                  <c:v>60.720376207947915</c:v>
                </c:pt>
                <c:pt idx="334">
                  <c:v>60.668699292026261</c:v>
                </c:pt>
                <c:pt idx="335">
                  <c:v>60.113172445868436</c:v>
                </c:pt>
                <c:pt idx="336">
                  <c:v>59.960725543899542</c:v>
                </c:pt>
                <c:pt idx="337">
                  <c:v>58.265722701669162</c:v>
                </c:pt>
                <c:pt idx="338">
                  <c:v>58.064182729574696</c:v>
                </c:pt>
                <c:pt idx="339">
                  <c:v>58.084853495943364</c:v>
                </c:pt>
                <c:pt idx="340">
                  <c:v>58.102940416515949</c:v>
                </c:pt>
                <c:pt idx="341">
                  <c:v>56.702495995039015</c:v>
                </c:pt>
                <c:pt idx="342">
                  <c:v>57.903984290217558</c:v>
                </c:pt>
                <c:pt idx="343">
                  <c:v>57.025476719549374</c:v>
                </c:pt>
                <c:pt idx="344">
                  <c:v>57.36396051883623</c:v>
                </c:pt>
                <c:pt idx="345">
                  <c:v>56.97379980362772</c:v>
                </c:pt>
                <c:pt idx="346">
                  <c:v>57.676605860162269</c:v>
                </c:pt>
                <c:pt idx="347">
                  <c:v>59.035708748901861</c:v>
                </c:pt>
                <c:pt idx="348">
                  <c:v>58.345821921347742</c:v>
                </c:pt>
                <c:pt idx="349">
                  <c:v>58.247635781096584</c:v>
                </c:pt>
                <c:pt idx="350">
                  <c:v>57.58617125729937</c:v>
                </c:pt>
                <c:pt idx="351">
                  <c:v>57.872978140664564</c:v>
                </c:pt>
                <c:pt idx="352">
                  <c:v>58.611958038344284</c:v>
                </c:pt>
                <c:pt idx="353">
                  <c:v>59.133894889153026</c:v>
                </c:pt>
                <c:pt idx="354">
                  <c:v>60.270787039429486</c:v>
                </c:pt>
                <c:pt idx="355">
                  <c:v>59.676502506330429</c:v>
                </c:pt>
                <c:pt idx="356">
                  <c:v>57.823885070538992</c:v>
                </c:pt>
                <c:pt idx="357">
                  <c:v>58.34323807555166</c:v>
                </c:pt>
                <c:pt idx="358">
                  <c:v>58.374244225104647</c:v>
                </c:pt>
                <c:pt idx="359">
                  <c:v>57.736034313472175</c:v>
                </c:pt>
                <c:pt idx="360">
                  <c:v>57.836804299519407</c:v>
                </c:pt>
                <c:pt idx="361">
                  <c:v>56.459614490207223</c:v>
                </c:pt>
                <c:pt idx="362">
                  <c:v>56.299416050850084</c:v>
                </c:pt>
                <c:pt idx="363">
                  <c:v>55.529430003617385</c:v>
                </c:pt>
                <c:pt idx="364">
                  <c:v>54.640587049764875</c:v>
                </c:pt>
                <c:pt idx="365">
                  <c:v>53.110950338483811</c:v>
                </c:pt>
                <c:pt idx="366">
                  <c:v>53.684564105214207</c:v>
                </c:pt>
                <c:pt idx="367">
                  <c:v>53.674228722029873</c:v>
                </c:pt>
                <c:pt idx="368">
                  <c:v>53.431347217198081</c:v>
                </c:pt>
                <c:pt idx="369">
                  <c:v>52.798304997157771</c:v>
                </c:pt>
                <c:pt idx="370">
                  <c:v>50.6795514443698</c:v>
                </c:pt>
                <c:pt idx="371">
                  <c:v>50.196372280502302</c:v>
                </c:pt>
                <c:pt idx="372">
                  <c:v>51.428866725233831</c:v>
                </c:pt>
                <c:pt idx="373">
                  <c:v>49.981913079427422</c:v>
                </c:pt>
                <c:pt idx="374">
                  <c:v>49.315280864038044</c:v>
                </c:pt>
                <c:pt idx="375">
                  <c:v>48.770089401064546</c:v>
                </c:pt>
                <c:pt idx="376">
                  <c:v>50.8009921967857</c:v>
                </c:pt>
                <c:pt idx="377">
                  <c:v>51.154979070849052</c:v>
                </c:pt>
                <c:pt idx="378">
                  <c:v>52.017983566740732</c:v>
                </c:pt>
                <c:pt idx="379">
                  <c:v>52.421063510929663</c:v>
                </c:pt>
                <c:pt idx="380">
                  <c:v>52.645858095188878</c:v>
                </c:pt>
                <c:pt idx="381">
                  <c:v>53.630303343496465</c:v>
                </c:pt>
                <c:pt idx="382">
                  <c:v>53.759495633300602</c:v>
                </c:pt>
                <c:pt idx="383">
                  <c:v>52.307374295902022</c:v>
                </c:pt>
                <c:pt idx="384">
                  <c:v>52.082579711642808</c:v>
                </c:pt>
                <c:pt idx="385">
                  <c:v>54.666425507725705</c:v>
                </c:pt>
                <c:pt idx="386">
                  <c:v>54.482972456203818</c:v>
                </c:pt>
                <c:pt idx="387">
                  <c:v>54.769779339569013</c:v>
                </c:pt>
                <c:pt idx="388">
                  <c:v>55.524262312025222</c:v>
                </c:pt>
                <c:pt idx="389">
                  <c:v>55.482920779287895</c:v>
                </c:pt>
                <c:pt idx="390">
                  <c:v>53.937780993230319</c:v>
                </c:pt>
                <c:pt idx="391">
                  <c:v>54.286600175701516</c:v>
                </c:pt>
                <c:pt idx="392">
                  <c:v>55.327890031522919</c:v>
                </c:pt>
                <c:pt idx="393">
                  <c:v>56.767092139941091</c:v>
                </c:pt>
                <c:pt idx="394">
                  <c:v>56.978967495219891</c:v>
                </c:pt>
                <c:pt idx="395">
                  <c:v>56.648235233321273</c:v>
                </c:pt>
                <c:pt idx="396">
                  <c:v>56.21673298537543</c:v>
                </c:pt>
                <c:pt idx="397">
                  <c:v>56.557800630458374</c:v>
                </c:pt>
                <c:pt idx="398">
                  <c:v>58.381995762492892</c:v>
                </c:pt>
                <c:pt idx="399">
                  <c:v>58.420753449434137</c:v>
                </c:pt>
                <c:pt idx="400">
                  <c:v>58.224381168931835</c:v>
                </c:pt>
                <c:pt idx="401">
                  <c:v>58.245051935300495</c:v>
                </c:pt>
                <c:pt idx="402">
                  <c:v>58.689473412226754</c:v>
                </c:pt>
                <c:pt idx="403">
                  <c:v>59.418117926722132</c:v>
                </c:pt>
                <c:pt idx="404">
                  <c:v>60.467159319931795</c:v>
                </c:pt>
                <c:pt idx="405">
                  <c:v>58.90134876750556</c:v>
                </c:pt>
                <c:pt idx="406">
                  <c:v>59.188155650870755</c:v>
                </c:pt>
                <c:pt idx="407">
                  <c:v>59.004702599348882</c:v>
                </c:pt>
                <c:pt idx="408">
                  <c:v>59.332851015451403</c:v>
                </c:pt>
                <c:pt idx="409">
                  <c:v>59.60157097824402</c:v>
                </c:pt>
                <c:pt idx="410">
                  <c:v>59.782440183969818</c:v>
                </c:pt>
                <c:pt idx="411">
                  <c:v>59.309596403286655</c:v>
                </c:pt>
                <c:pt idx="412">
                  <c:v>59.785024029765907</c:v>
                </c:pt>
                <c:pt idx="413">
                  <c:v>60.353470104904147</c:v>
                </c:pt>
                <c:pt idx="414">
                  <c:v>60.557593922794695</c:v>
                </c:pt>
                <c:pt idx="415">
                  <c:v>61.857268358224381</c:v>
                </c:pt>
                <c:pt idx="416">
                  <c:v>61.908945274146042</c:v>
                </c:pt>
                <c:pt idx="417">
                  <c:v>62.96573820474395</c:v>
                </c:pt>
                <c:pt idx="418">
                  <c:v>62.451552891323445</c:v>
                </c:pt>
                <c:pt idx="419">
                  <c:v>63.376569686321126</c:v>
                </c:pt>
                <c:pt idx="420">
                  <c:v>62.136323704201338</c:v>
                </c:pt>
                <c:pt idx="421">
                  <c:v>61.94253526949511</c:v>
                </c:pt>
                <c:pt idx="422">
                  <c:v>60.787556198646065</c:v>
                </c:pt>
                <c:pt idx="423">
                  <c:v>60.908996951061958</c:v>
                </c:pt>
                <c:pt idx="424">
                  <c:v>60.9322515632267</c:v>
                </c:pt>
                <c:pt idx="425">
                  <c:v>62.36886982584879</c:v>
                </c:pt>
                <c:pt idx="426">
                  <c:v>62.61175133068059</c:v>
                </c:pt>
                <c:pt idx="427">
                  <c:v>62.255180610821149</c:v>
                </c:pt>
                <c:pt idx="428">
                  <c:v>61.327579970027394</c:v>
                </c:pt>
                <c:pt idx="429">
                  <c:v>60.593767763939844</c:v>
                </c:pt>
                <c:pt idx="430">
                  <c:v>60.614438530308512</c:v>
                </c:pt>
                <c:pt idx="431">
                  <c:v>61.663479923518175</c:v>
                </c:pt>
                <c:pt idx="432">
                  <c:v>61.578213012247431</c:v>
                </c:pt>
                <c:pt idx="433">
                  <c:v>61.671231460906419</c:v>
                </c:pt>
                <c:pt idx="434">
                  <c:v>61.704821456255502</c:v>
                </c:pt>
                <c:pt idx="435">
                  <c:v>63.237042013332648</c:v>
                </c:pt>
                <c:pt idx="436">
                  <c:v>62.981241279520439</c:v>
                </c:pt>
                <c:pt idx="437">
                  <c:v>62.467055966099949</c:v>
                </c:pt>
                <c:pt idx="438">
                  <c:v>62.624670559660998</c:v>
                </c:pt>
                <c:pt idx="439">
                  <c:v>63.193116634799239</c:v>
                </c:pt>
                <c:pt idx="440">
                  <c:v>63.40757583587412</c:v>
                </c:pt>
                <c:pt idx="441">
                  <c:v>63.216371246963988</c:v>
                </c:pt>
                <c:pt idx="442">
                  <c:v>63.562606583639095</c:v>
                </c:pt>
                <c:pt idx="443">
                  <c:v>63.875251924965127</c:v>
                </c:pt>
                <c:pt idx="444">
                  <c:v>64.076791897059593</c:v>
                </c:pt>
                <c:pt idx="445">
                  <c:v>63.177613560022735</c:v>
                </c:pt>
                <c:pt idx="446">
                  <c:v>62.366285980052716</c:v>
                </c:pt>
                <c:pt idx="447">
                  <c:v>62.01746679758152</c:v>
                </c:pt>
                <c:pt idx="448">
                  <c:v>61.94770296108728</c:v>
                </c:pt>
                <c:pt idx="449">
                  <c:v>62.500645961449017</c:v>
                </c:pt>
                <c:pt idx="450">
                  <c:v>61.131207689525091</c:v>
                </c:pt>
                <c:pt idx="451">
                  <c:v>60.492997777892619</c:v>
                </c:pt>
                <c:pt idx="452">
                  <c:v>61.224226138184065</c:v>
                </c:pt>
                <c:pt idx="453">
                  <c:v>62.193168311715155</c:v>
                </c:pt>
                <c:pt idx="454">
                  <c:v>61.903777582553879</c:v>
                </c:pt>
                <c:pt idx="455">
                  <c:v>62.384372900625294</c:v>
                </c:pt>
                <c:pt idx="456">
                  <c:v>62.094982171464011</c:v>
                </c:pt>
                <c:pt idx="457">
                  <c:v>62.203503694899496</c:v>
                </c:pt>
                <c:pt idx="458">
                  <c:v>61.131207689525091</c:v>
                </c:pt>
                <c:pt idx="459">
                  <c:v>61.133791535321166</c:v>
                </c:pt>
                <c:pt idx="460">
                  <c:v>61.107953077360342</c:v>
                </c:pt>
                <c:pt idx="461">
                  <c:v>60.084750142111517</c:v>
                </c:pt>
                <c:pt idx="462">
                  <c:v>59.958141698103461</c:v>
                </c:pt>
                <c:pt idx="463">
                  <c:v>59.965893235491706</c:v>
                </c:pt>
                <c:pt idx="464">
                  <c:v>59.787607875561989</c:v>
                </c:pt>
                <c:pt idx="465">
                  <c:v>60.560177768590776</c:v>
                </c:pt>
                <c:pt idx="466">
                  <c:v>61.2965738204744</c:v>
                </c:pt>
                <c:pt idx="467">
                  <c:v>62.348199059480137</c:v>
                </c:pt>
                <c:pt idx="468">
                  <c:v>62.743527466280824</c:v>
                </c:pt>
                <c:pt idx="469">
                  <c:v>62.893390522453615</c:v>
                </c:pt>
                <c:pt idx="470">
                  <c:v>63.280967391866064</c:v>
                </c:pt>
                <c:pt idx="471">
                  <c:v>63.820991163247378</c:v>
                </c:pt>
                <c:pt idx="472">
                  <c:v>63.934680378275019</c:v>
                </c:pt>
                <c:pt idx="473">
                  <c:v>64.942380238747361</c:v>
                </c:pt>
                <c:pt idx="474">
                  <c:v>65.340292491344115</c:v>
                </c:pt>
                <c:pt idx="475">
                  <c:v>65.549584000826826</c:v>
                </c:pt>
                <c:pt idx="476">
                  <c:v>65.510826313885588</c:v>
                </c:pt>
                <c:pt idx="477">
                  <c:v>65.748540127125224</c:v>
                </c:pt>
                <c:pt idx="478">
                  <c:v>66.707146917471974</c:v>
                </c:pt>
                <c:pt idx="479">
                  <c:v>66.583122319259985</c:v>
                </c:pt>
                <c:pt idx="480">
                  <c:v>66.802749211927036</c:v>
                </c:pt>
                <c:pt idx="481">
                  <c:v>66.942276884915515</c:v>
                </c:pt>
                <c:pt idx="482">
                  <c:v>66.699395380083715</c:v>
                </c:pt>
                <c:pt idx="483">
                  <c:v>66.673556922122899</c:v>
                </c:pt>
                <c:pt idx="484">
                  <c:v>67.601157562916654</c:v>
                </c:pt>
                <c:pt idx="485">
                  <c:v>67.663169862022642</c:v>
                </c:pt>
                <c:pt idx="486">
                  <c:v>67.128313782233491</c:v>
                </c:pt>
                <c:pt idx="487">
                  <c:v>67.340189137512269</c:v>
                </c:pt>
                <c:pt idx="488">
                  <c:v>67.771691385458126</c:v>
                </c:pt>
                <c:pt idx="489">
                  <c:v>67.637331404061811</c:v>
                </c:pt>
                <c:pt idx="490">
                  <c:v>66.526277711746175</c:v>
                </c:pt>
                <c:pt idx="491">
                  <c:v>67.048214562554904</c:v>
                </c:pt>
                <c:pt idx="492">
                  <c:v>66.854426127848697</c:v>
                </c:pt>
                <c:pt idx="493">
                  <c:v>67.577902950751906</c:v>
                </c:pt>
                <c:pt idx="494">
                  <c:v>68.322050540023781</c:v>
                </c:pt>
                <c:pt idx="495">
                  <c:v>68.738049713193121</c:v>
                </c:pt>
                <c:pt idx="496">
                  <c:v>68.869825848793354</c:v>
                </c:pt>
                <c:pt idx="497">
                  <c:v>69.092036587256473</c:v>
                </c:pt>
                <c:pt idx="498">
                  <c:v>69.042943517130894</c:v>
                </c:pt>
                <c:pt idx="499">
                  <c:v>68.885328923569858</c:v>
                </c:pt>
                <c:pt idx="500">
                  <c:v>68.484832825176994</c:v>
                </c:pt>
                <c:pt idx="501">
                  <c:v>67.541729109606734</c:v>
                </c:pt>
                <c:pt idx="502">
                  <c:v>67.347940674900514</c:v>
                </c:pt>
                <c:pt idx="503">
                  <c:v>67.58565448814015</c:v>
                </c:pt>
                <c:pt idx="504">
                  <c:v>68.404733605498421</c:v>
                </c:pt>
                <c:pt idx="505">
                  <c:v>68.562348199059485</c:v>
                </c:pt>
                <c:pt idx="506">
                  <c:v>68.549428970079077</c:v>
                </c:pt>
                <c:pt idx="507">
                  <c:v>68.701875872047964</c:v>
                </c:pt>
                <c:pt idx="508">
                  <c:v>69.327166554700014</c:v>
                </c:pt>
                <c:pt idx="509">
                  <c:v>69.391762699602083</c:v>
                </c:pt>
                <c:pt idx="510">
                  <c:v>69.216061185468462</c:v>
                </c:pt>
                <c:pt idx="511">
                  <c:v>69.440855769727662</c:v>
                </c:pt>
                <c:pt idx="512">
                  <c:v>70.143661826262218</c:v>
                </c:pt>
                <c:pt idx="513">
                  <c:v>70.143661826262218</c:v>
                </c:pt>
                <c:pt idx="514">
                  <c:v>70.050643377603222</c:v>
                </c:pt>
                <c:pt idx="515">
                  <c:v>69.833600330732253</c:v>
                </c:pt>
                <c:pt idx="516">
                  <c:v>69.957624928944242</c:v>
                </c:pt>
                <c:pt idx="517">
                  <c:v>69.709575732520292</c:v>
                </c:pt>
                <c:pt idx="518">
                  <c:v>69.15404888636246</c:v>
                </c:pt>
                <c:pt idx="519">
                  <c:v>68.805229703891285</c:v>
                </c:pt>
                <c:pt idx="520">
                  <c:v>69.802594181179273</c:v>
                </c:pt>
                <c:pt idx="521">
                  <c:v>70.089401064544461</c:v>
                </c:pt>
                <c:pt idx="522">
                  <c:v>69.841351868120512</c:v>
                </c:pt>
                <c:pt idx="523">
                  <c:v>68.590770502816383</c:v>
                </c:pt>
                <c:pt idx="524">
                  <c:v>67.552064492791075</c:v>
                </c:pt>
                <c:pt idx="525">
                  <c:v>68.074001343599804</c:v>
                </c:pt>
                <c:pt idx="526">
                  <c:v>68.895664306754171</c:v>
                </c:pt>
                <c:pt idx="527">
                  <c:v>69.316831171515673</c:v>
                </c:pt>
                <c:pt idx="528">
                  <c:v>69.831016484936185</c:v>
                </c:pt>
                <c:pt idx="529">
                  <c:v>69.98087954110899</c:v>
                </c:pt>
                <c:pt idx="530">
                  <c:v>70.099736447728816</c:v>
                </c:pt>
                <c:pt idx="531">
                  <c:v>69.797426489587096</c:v>
                </c:pt>
                <c:pt idx="532">
                  <c:v>70.675934060255287</c:v>
                </c:pt>
                <c:pt idx="533">
                  <c:v>70.743114050953452</c:v>
                </c:pt>
                <c:pt idx="534">
                  <c:v>70.414965634850915</c:v>
                </c:pt>
                <c:pt idx="535">
                  <c:v>70.965324789416556</c:v>
                </c:pt>
                <c:pt idx="536">
                  <c:v>70.722443284584784</c:v>
                </c:pt>
                <c:pt idx="537">
                  <c:v>70.311611803007594</c:v>
                </c:pt>
                <c:pt idx="538">
                  <c:v>70.236680274921198</c:v>
                </c:pt>
                <c:pt idx="539">
                  <c:v>69.598470363288726</c:v>
                </c:pt>
                <c:pt idx="540">
                  <c:v>69.151465040566379</c:v>
                </c:pt>
                <c:pt idx="541">
                  <c:v>69.172135806935046</c:v>
                </c:pt>
                <c:pt idx="542">
                  <c:v>68.079169035191995</c:v>
                </c:pt>
                <c:pt idx="543">
                  <c:v>68.939589685287586</c:v>
                </c:pt>
                <c:pt idx="544">
                  <c:v>67.988734432329082</c:v>
                </c:pt>
                <c:pt idx="545">
                  <c:v>67.869877525709271</c:v>
                </c:pt>
                <c:pt idx="546">
                  <c:v>68.156684409074458</c:v>
                </c:pt>
                <c:pt idx="547">
                  <c:v>68.164435946462717</c:v>
                </c:pt>
                <c:pt idx="548">
                  <c:v>68.691540488863637</c:v>
                </c:pt>
                <c:pt idx="549">
                  <c:v>69.032608133946567</c:v>
                </c:pt>
                <c:pt idx="550">
                  <c:v>69.931786470983397</c:v>
                </c:pt>
                <c:pt idx="551">
                  <c:v>70.07131414397189</c:v>
                </c:pt>
                <c:pt idx="552">
                  <c:v>70.321947186191935</c:v>
                </c:pt>
                <c:pt idx="553">
                  <c:v>70.239264120717266</c:v>
                </c:pt>
                <c:pt idx="554">
                  <c:v>70.585499457392388</c:v>
                </c:pt>
                <c:pt idx="555">
                  <c:v>71.19011937367577</c:v>
                </c:pt>
                <c:pt idx="556">
                  <c:v>71.487261640225313</c:v>
                </c:pt>
                <c:pt idx="557">
                  <c:v>71.017001705338231</c:v>
                </c:pt>
                <c:pt idx="558">
                  <c:v>70.347785644152765</c:v>
                </c:pt>
                <c:pt idx="559">
                  <c:v>70.032556457030651</c:v>
                </c:pt>
                <c:pt idx="560">
                  <c:v>70.624257144333626</c:v>
                </c:pt>
                <c:pt idx="561">
                  <c:v>70.430468709627419</c:v>
                </c:pt>
                <c:pt idx="562">
                  <c:v>70.577747920004128</c:v>
                </c:pt>
                <c:pt idx="563">
                  <c:v>69.936954162575589</c:v>
                </c:pt>
                <c:pt idx="564">
                  <c:v>69.35558885845694</c:v>
                </c:pt>
                <c:pt idx="565">
                  <c:v>69.492532685649323</c:v>
                </c:pt>
                <c:pt idx="566">
                  <c:v>70.515735620898155</c:v>
                </c:pt>
                <c:pt idx="567">
                  <c:v>70.735362513565192</c:v>
                </c:pt>
                <c:pt idx="568">
                  <c:v>70.526071004082482</c:v>
                </c:pt>
                <c:pt idx="569">
                  <c:v>71.332230892460331</c:v>
                </c:pt>
                <c:pt idx="570">
                  <c:v>71.412330112138918</c:v>
                </c:pt>
                <c:pt idx="571">
                  <c:v>71.027337088522557</c:v>
                </c:pt>
                <c:pt idx="572">
                  <c:v>70.802542504263343</c:v>
                </c:pt>
                <c:pt idx="573">
                  <c:v>71.213373985840533</c:v>
                </c:pt>
                <c:pt idx="574">
                  <c:v>71.789571598367004</c:v>
                </c:pt>
                <c:pt idx="575">
                  <c:v>72.208154617332426</c:v>
                </c:pt>
                <c:pt idx="576">
                  <c:v>72.244328458477597</c:v>
                </c:pt>
                <c:pt idx="577">
                  <c:v>72.626737636297861</c:v>
                </c:pt>
                <c:pt idx="578">
                  <c:v>72.520799958658472</c:v>
                </c:pt>
                <c:pt idx="579">
                  <c:v>72.763681463490272</c:v>
                </c:pt>
                <c:pt idx="580">
                  <c:v>73.290786005891164</c:v>
                </c:pt>
                <c:pt idx="581">
                  <c:v>73.934163609115814</c:v>
                </c:pt>
                <c:pt idx="582">
                  <c:v>73.87731900160199</c:v>
                </c:pt>
                <c:pt idx="583">
                  <c:v>74.117616660637694</c:v>
                </c:pt>
                <c:pt idx="584">
                  <c:v>74.078858973696455</c:v>
                </c:pt>
                <c:pt idx="585">
                  <c:v>74.22872202986926</c:v>
                </c:pt>
                <c:pt idx="586">
                  <c:v>74.26231202521835</c:v>
                </c:pt>
                <c:pt idx="587">
                  <c:v>74.38633662343031</c:v>
                </c:pt>
                <c:pt idx="588">
                  <c:v>73.991008216629638</c:v>
                </c:pt>
                <c:pt idx="589">
                  <c:v>73.991008216629638</c:v>
                </c:pt>
                <c:pt idx="590">
                  <c:v>74.838509637744821</c:v>
                </c:pt>
                <c:pt idx="591">
                  <c:v>75.192496511808173</c:v>
                </c:pt>
                <c:pt idx="592">
                  <c:v>75.39662032969872</c:v>
                </c:pt>
                <c:pt idx="593">
                  <c:v>75.667924138287432</c:v>
                </c:pt>
                <c:pt idx="594">
                  <c:v>76.019327166554689</c:v>
                </c:pt>
                <c:pt idx="595">
                  <c:v>75.432794170843891</c:v>
                </c:pt>
                <c:pt idx="596">
                  <c:v>75.003875768694115</c:v>
                </c:pt>
                <c:pt idx="597">
                  <c:v>75.282931114671086</c:v>
                </c:pt>
                <c:pt idx="598">
                  <c:v>75.87204795617798</c:v>
                </c:pt>
                <c:pt idx="599">
                  <c:v>75.670507984083514</c:v>
                </c:pt>
                <c:pt idx="600">
                  <c:v>75.729936437393405</c:v>
                </c:pt>
                <c:pt idx="601">
                  <c:v>76.574854012712521</c:v>
                </c:pt>
                <c:pt idx="602">
                  <c:v>76.27254405457083</c:v>
                </c:pt>
                <c:pt idx="603">
                  <c:v>75.479303395173375</c:v>
                </c:pt>
                <c:pt idx="604">
                  <c:v>74.011678982998291</c:v>
                </c:pt>
                <c:pt idx="605">
                  <c:v>73.807555165107743</c:v>
                </c:pt>
                <c:pt idx="606">
                  <c:v>73.936747454911895</c:v>
                </c:pt>
                <c:pt idx="607">
                  <c:v>73.804971319311662</c:v>
                </c:pt>
                <c:pt idx="608">
                  <c:v>73.484574440597385</c:v>
                </c:pt>
                <c:pt idx="609">
                  <c:v>73.210686786212591</c:v>
                </c:pt>
                <c:pt idx="610">
                  <c:v>73.848896697845078</c:v>
                </c:pt>
                <c:pt idx="611">
                  <c:v>74.585292749728708</c:v>
                </c:pt>
                <c:pt idx="612">
                  <c:v>74.443181230944148</c:v>
                </c:pt>
                <c:pt idx="613">
                  <c:v>73.045320655263296</c:v>
                </c:pt>
                <c:pt idx="614">
                  <c:v>72.838612991576653</c:v>
                </c:pt>
                <c:pt idx="615">
                  <c:v>72.49237765490156</c:v>
                </c:pt>
                <c:pt idx="616">
                  <c:v>72.861867603741416</c:v>
                </c:pt>
                <c:pt idx="617">
                  <c:v>73.112500645961447</c:v>
                </c:pt>
                <c:pt idx="618">
                  <c:v>74.055604361531707</c:v>
                </c:pt>
                <c:pt idx="619">
                  <c:v>73.975505141853134</c:v>
                </c:pt>
                <c:pt idx="620">
                  <c:v>74.053020515735639</c:v>
                </c:pt>
                <c:pt idx="621">
                  <c:v>74.621466590873865</c:v>
                </c:pt>
                <c:pt idx="622">
                  <c:v>75.515477236318546</c:v>
                </c:pt>
                <c:pt idx="623">
                  <c:v>76.003824091778199</c:v>
                </c:pt>
                <c:pt idx="624">
                  <c:v>76.285463283551252</c:v>
                </c:pt>
                <c:pt idx="625">
                  <c:v>76.249289442406081</c:v>
                </c:pt>
                <c:pt idx="626">
                  <c:v>75.642085680326602</c:v>
                </c:pt>
                <c:pt idx="627">
                  <c:v>75.732520283189501</c:v>
                </c:pt>
                <c:pt idx="628">
                  <c:v>75.590408764404941</c:v>
                </c:pt>
                <c:pt idx="629">
                  <c:v>75.536148002687199</c:v>
                </c:pt>
                <c:pt idx="630">
                  <c:v>76.970182419513193</c:v>
                </c:pt>
                <c:pt idx="631">
                  <c:v>77.114877784093849</c:v>
                </c:pt>
                <c:pt idx="632">
                  <c:v>76.934008578368051</c:v>
                </c:pt>
                <c:pt idx="633">
                  <c:v>77.272492377654913</c:v>
                </c:pt>
                <c:pt idx="634">
                  <c:v>78.249186088574234</c:v>
                </c:pt>
                <c:pt idx="635">
                  <c:v>78.306030696088058</c:v>
                </c:pt>
                <c:pt idx="636">
                  <c:v>78.678104490723996</c:v>
                </c:pt>
                <c:pt idx="637">
                  <c:v>78.626427574802335</c:v>
                </c:pt>
                <c:pt idx="638">
                  <c:v>78.737532944033902</c:v>
                </c:pt>
                <c:pt idx="639">
                  <c:v>78.585086042065015</c:v>
                </c:pt>
                <c:pt idx="640">
                  <c:v>78.825383701100719</c:v>
                </c:pt>
                <c:pt idx="641">
                  <c:v>78.982998294661783</c:v>
                </c:pt>
                <c:pt idx="642">
                  <c:v>79.693555888584584</c:v>
                </c:pt>
                <c:pt idx="643">
                  <c:v>80.099219678569582</c:v>
                </c:pt>
                <c:pt idx="644">
                  <c:v>80.156064286083421</c:v>
                </c:pt>
                <c:pt idx="645">
                  <c:v>80.31367887964447</c:v>
                </c:pt>
                <c:pt idx="646">
                  <c:v>80.783938814531538</c:v>
                </c:pt>
                <c:pt idx="647">
                  <c:v>81.18701875872047</c:v>
                </c:pt>
                <c:pt idx="648">
                  <c:v>81.318794894320718</c:v>
                </c:pt>
                <c:pt idx="649">
                  <c:v>81.127590305410578</c:v>
                </c:pt>
                <c:pt idx="650">
                  <c:v>81.249031057826471</c:v>
                </c:pt>
                <c:pt idx="651">
                  <c:v>81.582347165521156</c:v>
                </c:pt>
                <c:pt idx="652">
                  <c:v>80.887292646374874</c:v>
                </c:pt>
                <c:pt idx="653">
                  <c:v>81.654694847811484</c:v>
                </c:pt>
                <c:pt idx="654">
                  <c:v>81.6986202263449</c:v>
                </c:pt>
                <c:pt idx="655">
                  <c:v>82.166296315435901</c:v>
                </c:pt>
                <c:pt idx="656">
                  <c:v>82.98279158699809</c:v>
                </c:pt>
                <c:pt idx="657">
                  <c:v>82.954369283241178</c:v>
                </c:pt>
                <c:pt idx="658">
                  <c:v>82.732158544778059</c:v>
                </c:pt>
                <c:pt idx="659">
                  <c:v>83.006046199162839</c:v>
                </c:pt>
                <c:pt idx="660">
                  <c:v>82.416929357655945</c:v>
                </c:pt>
                <c:pt idx="661">
                  <c:v>82.450519353005021</c:v>
                </c:pt>
                <c:pt idx="662">
                  <c:v>82.933698516872525</c:v>
                </c:pt>
                <c:pt idx="663">
                  <c:v>83.486641517234261</c:v>
                </c:pt>
                <c:pt idx="664">
                  <c:v>82.55645703064441</c:v>
                </c:pt>
                <c:pt idx="665">
                  <c:v>82.453103198801102</c:v>
                </c:pt>
                <c:pt idx="666">
                  <c:v>83.186915404888637</c:v>
                </c:pt>
                <c:pt idx="667">
                  <c:v>83.434964601312601</c:v>
                </c:pt>
                <c:pt idx="668">
                  <c:v>83.530566895767649</c:v>
                </c:pt>
                <c:pt idx="669">
                  <c:v>83.615833807038413</c:v>
                </c:pt>
                <c:pt idx="670">
                  <c:v>84.10934835409023</c:v>
                </c:pt>
                <c:pt idx="671">
                  <c:v>82.404010128675537</c:v>
                </c:pt>
                <c:pt idx="672">
                  <c:v>82.476357810965837</c:v>
                </c:pt>
                <c:pt idx="673">
                  <c:v>83.186915404888637</c:v>
                </c:pt>
                <c:pt idx="674">
                  <c:v>82.259314764094881</c:v>
                </c:pt>
                <c:pt idx="675">
                  <c:v>83.256679241382884</c:v>
                </c:pt>
                <c:pt idx="676">
                  <c:v>82.057774792000416</c:v>
                </c:pt>
                <c:pt idx="677">
                  <c:v>82.189550927600635</c:v>
                </c:pt>
                <c:pt idx="678">
                  <c:v>80.907963412743527</c:v>
                </c:pt>
                <c:pt idx="679">
                  <c:v>79.440339000568443</c:v>
                </c:pt>
                <c:pt idx="680">
                  <c:v>82.106867862125981</c:v>
                </c:pt>
                <c:pt idx="681">
                  <c:v>82.453103198801102</c:v>
                </c:pt>
                <c:pt idx="682">
                  <c:v>83.517647666787255</c:v>
                </c:pt>
                <c:pt idx="683">
                  <c:v>83.884553769831015</c:v>
                </c:pt>
                <c:pt idx="684">
                  <c:v>82.732158544778059</c:v>
                </c:pt>
                <c:pt idx="685">
                  <c:v>82.711487778409392</c:v>
                </c:pt>
                <c:pt idx="686">
                  <c:v>82.197302464988894</c:v>
                </c:pt>
                <c:pt idx="687">
                  <c:v>81.228360291457818</c:v>
                </c:pt>
                <c:pt idx="688">
                  <c:v>78.931321378740122</c:v>
                </c:pt>
                <c:pt idx="689">
                  <c:v>78.228515322205567</c:v>
                </c:pt>
                <c:pt idx="690">
                  <c:v>78.70135910288873</c:v>
                </c:pt>
                <c:pt idx="691">
                  <c:v>78.344788383029297</c:v>
                </c:pt>
                <c:pt idx="692">
                  <c:v>78.884812154410639</c:v>
                </c:pt>
                <c:pt idx="693">
                  <c:v>80.949304945480861</c:v>
                </c:pt>
                <c:pt idx="694">
                  <c:v>80.228411968373734</c:v>
                </c:pt>
                <c:pt idx="695">
                  <c:v>80.600485763009672</c:v>
                </c:pt>
                <c:pt idx="696">
                  <c:v>79.755568187690557</c:v>
                </c:pt>
                <c:pt idx="697">
                  <c:v>81.003565707198604</c:v>
                </c:pt>
                <c:pt idx="698">
                  <c:v>81.894992506847203</c:v>
                </c:pt>
                <c:pt idx="699">
                  <c:v>80.763268048162885</c:v>
                </c:pt>
                <c:pt idx="700">
                  <c:v>80.021704304687105</c:v>
                </c:pt>
                <c:pt idx="701">
                  <c:v>80.215492739393312</c:v>
                </c:pt>
                <c:pt idx="702">
                  <c:v>79.879592785902531</c:v>
                </c:pt>
                <c:pt idx="703">
                  <c:v>81.424732571960106</c:v>
                </c:pt>
                <c:pt idx="704">
                  <c:v>81.928582502196264</c:v>
                </c:pt>
                <c:pt idx="705">
                  <c:v>81.528086403803414</c:v>
                </c:pt>
                <c:pt idx="706">
                  <c:v>82.574543951216995</c:v>
                </c:pt>
                <c:pt idx="707">
                  <c:v>82.734742390574141</c:v>
                </c:pt>
                <c:pt idx="708">
                  <c:v>82.613301638158248</c:v>
                </c:pt>
                <c:pt idx="709">
                  <c:v>82.618469329750397</c:v>
                </c:pt>
                <c:pt idx="710">
                  <c:v>83.073226189860989</c:v>
                </c:pt>
                <c:pt idx="711">
                  <c:v>82.618469329750397</c:v>
                </c:pt>
                <c:pt idx="712">
                  <c:v>82.207637848173235</c:v>
                </c:pt>
                <c:pt idx="713">
                  <c:v>80.732261898609892</c:v>
                </c:pt>
                <c:pt idx="714">
                  <c:v>80.6547465247274</c:v>
                </c:pt>
                <c:pt idx="715">
                  <c:v>80.636659604154829</c:v>
                </c:pt>
                <c:pt idx="716">
                  <c:v>79.083768280709009</c:v>
                </c:pt>
                <c:pt idx="717">
                  <c:v>78.132913027750504</c:v>
                </c:pt>
                <c:pt idx="718">
                  <c:v>76.471500180869199</c:v>
                </c:pt>
                <c:pt idx="719">
                  <c:v>75.631750297142261</c:v>
                </c:pt>
                <c:pt idx="720">
                  <c:v>75.846209498217149</c:v>
                </c:pt>
                <c:pt idx="721">
                  <c:v>76.474084026665295</c:v>
                </c:pt>
                <c:pt idx="722">
                  <c:v>78.003720737946352</c:v>
                </c:pt>
                <c:pt idx="723">
                  <c:v>78.665185261743574</c:v>
                </c:pt>
                <c:pt idx="724">
                  <c:v>79.432587463180198</c:v>
                </c:pt>
                <c:pt idx="725">
                  <c:v>79.740065112914067</c:v>
                </c:pt>
                <c:pt idx="726">
                  <c:v>80.455790398429031</c:v>
                </c:pt>
                <c:pt idx="727">
                  <c:v>80.386026561934784</c:v>
                </c:pt>
                <c:pt idx="728">
                  <c:v>79.34473670611338</c:v>
                </c:pt>
                <c:pt idx="729">
                  <c:v>77.373262363702139</c:v>
                </c:pt>
                <c:pt idx="730">
                  <c:v>77.220815461733253</c:v>
                </c:pt>
                <c:pt idx="731">
                  <c:v>77.990801508965944</c:v>
                </c:pt>
                <c:pt idx="732">
                  <c:v>78.063149191256272</c:v>
                </c:pt>
                <c:pt idx="733">
                  <c:v>79.039842902175593</c:v>
                </c:pt>
                <c:pt idx="734">
                  <c:v>80.130225828122576</c:v>
                </c:pt>
                <c:pt idx="735">
                  <c:v>80.267169655314973</c:v>
                </c:pt>
                <c:pt idx="736">
                  <c:v>80.060461991628358</c:v>
                </c:pt>
                <c:pt idx="737">
                  <c:v>79.807245103612217</c:v>
                </c:pt>
                <c:pt idx="738">
                  <c:v>79.326649785540809</c:v>
                </c:pt>
                <c:pt idx="739">
                  <c:v>79.41966823419979</c:v>
                </c:pt>
                <c:pt idx="740">
                  <c:v>80.383442716138703</c:v>
                </c:pt>
                <c:pt idx="741">
                  <c:v>80.243915043150224</c:v>
                </c:pt>
                <c:pt idx="742">
                  <c:v>80.685752674280394</c:v>
                </c:pt>
                <c:pt idx="743">
                  <c:v>80.675417291096068</c:v>
                </c:pt>
                <c:pt idx="744">
                  <c:v>79.807245103612217</c:v>
                </c:pt>
                <c:pt idx="745">
                  <c:v>80.486796547982024</c:v>
                </c:pt>
                <c:pt idx="746">
                  <c:v>80.551392692884093</c:v>
                </c:pt>
                <c:pt idx="747">
                  <c:v>79.450674383752784</c:v>
                </c:pt>
                <c:pt idx="748">
                  <c:v>79.280140561211311</c:v>
                </c:pt>
                <c:pt idx="749">
                  <c:v>79.623792052090337</c:v>
                </c:pt>
                <c:pt idx="750">
                  <c:v>79.318898248152564</c:v>
                </c:pt>
                <c:pt idx="751">
                  <c:v>80.068213529016603</c:v>
                </c:pt>
                <c:pt idx="752">
                  <c:v>80.241331197354143</c:v>
                </c:pt>
                <c:pt idx="753">
                  <c:v>79.290475944395638</c:v>
                </c:pt>
                <c:pt idx="754">
                  <c:v>79.43517130897628</c:v>
                </c:pt>
                <c:pt idx="755">
                  <c:v>79.582450519353003</c:v>
                </c:pt>
                <c:pt idx="756">
                  <c:v>78.409384527931365</c:v>
                </c:pt>
                <c:pt idx="757">
                  <c:v>78.355123766213637</c:v>
                </c:pt>
                <c:pt idx="758">
                  <c:v>77.949459976228624</c:v>
                </c:pt>
                <c:pt idx="759">
                  <c:v>78.920985995555796</c:v>
                </c:pt>
                <c:pt idx="760">
                  <c:v>78.753036018810405</c:v>
                </c:pt>
                <c:pt idx="761">
                  <c:v>78.386129915766631</c:v>
                </c:pt>
                <c:pt idx="762">
                  <c:v>79.910598935455539</c:v>
                </c:pt>
                <c:pt idx="763">
                  <c:v>80.419616557283874</c:v>
                </c:pt>
                <c:pt idx="764">
                  <c:v>81.070745697896754</c:v>
                </c:pt>
                <c:pt idx="765">
                  <c:v>81.339465660689385</c:v>
                </c:pt>
                <c:pt idx="766">
                  <c:v>81.435067955144447</c:v>
                </c:pt>
                <c:pt idx="767">
                  <c:v>81.652111002015403</c:v>
                </c:pt>
                <c:pt idx="768">
                  <c:v>82.295488605240038</c:v>
                </c:pt>
                <c:pt idx="769">
                  <c:v>82.540953955867906</c:v>
                </c:pt>
                <c:pt idx="770">
                  <c:v>82.745077773758467</c:v>
                </c:pt>
                <c:pt idx="771">
                  <c:v>82.339413983773454</c:v>
                </c:pt>
                <c:pt idx="772">
                  <c:v>82.075861712573001</c:v>
                </c:pt>
                <c:pt idx="773">
                  <c:v>81.481577179473945</c:v>
                </c:pt>
                <c:pt idx="774">
                  <c:v>81.763216371246969</c:v>
                </c:pt>
                <c:pt idx="775">
                  <c:v>82.590047025993485</c:v>
                </c:pt>
                <c:pt idx="776">
                  <c:v>82.171464007028064</c:v>
                </c:pt>
                <c:pt idx="777">
                  <c:v>80.551392692884093</c:v>
                </c:pt>
                <c:pt idx="778">
                  <c:v>80.533305772311508</c:v>
                </c:pt>
                <c:pt idx="779">
                  <c:v>80.982894940829937</c:v>
                </c:pt>
                <c:pt idx="780">
                  <c:v>80.923466487520017</c:v>
                </c:pt>
                <c:pt idx="781">
                  <c:v>80.740013435998151</c:v>
                </c:pt>
                <c:pt idx="782">
                  <c:v>80.424784248876023</c:v>
                </c:pt>
                <c:pt idx="783">
                  <c:v>79.778822799855305</c:v>
                </c:pt>
                <c:pt idx="784">
                  <c:v>79.566947444576513</c:v>
                </c:pt>
                <c:pt idx="785">
                  <c:v>79.375742855666374</c:v>
                </c:pt>
                <c:pt idx="786">
                  <c:v>80.021704304687105</c:v>
                </c:pt>
                <c:pt idx="787">
                  <c:v>80.192238127228578</c:v>
                </c:pt>
                <c:pt idx="788">
                  <c:v>79.980362771949771</c:v>
                </c:pt>
                <c:pt idx="789">
                  <c:v>80.228411968373734</c:v>
                </c:pt>
                <c:pt idx="790">
                  <c:v>80.502299622758528</c:v>
                </c:pt>
                <c:pt idx="791">
                  <c:v>80.649578833135237</c:v>
                </c:pt>
                <c:pt idx="792">
                  <c:v>80.884708800578792</c:v>
                </c:pt>
                <c:pt idx="793">
                  <c:v>80.468709627409439</c:v>
                </c:pt>
                <c:pt idx="794">
                  <c:v>80.688336520076476</c:v>
                </c:pt>
                <c:pt idx="795">
                  <c:v>81.220608754069559</c:v>
                </c:pt>
                <c:pt idx="796">
                  <c:v>81.029404165159434</c:v>
                </c:pt>
                <c:pt idx="797">
                  <c:v>80.827864193064954</c:v>
                </c:pt>
                <c:pt idx="798">
                  <c:v>80.853702651025799</c:v>
                </c:pt>
                <c:pt idx="799">
                  <c:v>81.158596454963586</c:v>
                </c:pt>
                <c:pt idx="800">
                  <c:v>81.300707973748118</c:v>
                </c:pt>
                <c:pt idx="801">
                  <c:v>81.535837941191673</c:v>
                </c:pt>
                <c:pt idx="802">
                  <c:v>81.396310268203194</c:v>
                </c:pt>
                <c:pt idx="803">
                  <c:v>81.17151568394398</c:v>
                </c:pt>
                <c:pt idx="804">
                  <c:v>81.24644721203039</c:v>
                </c:pt>
                <c:pt idx="805">
                  <c:v>81.391142576611031</c:v>
                </c:pt>
                <c:pt idx="806">
                  <c:v>81.290372590563791</c:v>
                </c:pt>
                <c:pt idx="807">
                  <c:v>81.357552581261956</c:v>
                </c:pt>
                <c:pt idx="808">
                  <c:v>82.075861712573001</c:v>
                </c:pt>
                <c:pt idx="809">
                  <c:v>83.29285308252804</c:v>
                </c:pt>
                <c:pt idx="810">
                  <c:v>83.900056844607519</c:v>
                </c:pt>
                <c:pt idx="811">
                  <c:v>83.690765335124794</c:v>
                </c:pt>
                <c:pt idx="812">
                  <c:v>84.378068316882846</c:v>
                </c:pt>
                <c:pt idx="813">
                  <c:v>84.429745232804507</c:v>
                </c:pt>
                <c:pt idx="814">
                  <c:v>83.445299984496927</c:v>
                </c:pt>
                <c:pt idx="815">
                  <c:v>84.029249134411657</c:v>
                </c:pt>
                <c:pt idx="816">
                  <c:v>82.734742390574141</c:v>
                </c:pt>
                <c:pt idx="817">
                  <c:v>82.962120820629423</c:v>
                </c:pt>
                <c:pt idx="818">
                  <c:v>83.923311456772268</c:v>
                </c:pt>
                <c:pt idx="819">
                  <c:v>83.652007648183556</c:v>
                </c:pt>
                <c:pt idx="820">
                  <c:v>83.73469071365821</c:v>
                </c:pt>
                <c:pt idx="821">
                  <c:v>83.403958451759607</c:v>
                </c:pt>
                <c:pt idx="822">
                  <c:v>84.39357139165935</c:v>
                </c:pt>
                <c:pt idx="823">
                  <c:v>84.659707508655885</c:v>
                </c:pt>
                <c:pt idx="824">
                  <c:v>84.744974419926621</c:v>
                </c:pt>
                <c:pt idx="825">
                  <c:v>84.915508242468078</c:v>
                </c:pt>
                <c:pt idx="826">
                  <c:v>84.827657485401275</c:v>
                </c:pt>
                <c:pt idx="827">
                  <c:v>86.155754224587881</c:v>
                </c:pt>
                <c:pt idx="828">
                  <c:v>86.943827192393158</c:v>
                </c:pt>
                <c:pt idx="829">
                  <c:v>86.253940364839039</c:v>
                </c:pt>
                <c:pt idx="830">
                  <c:v>86.708697224949617</c:v>
                </c:pt>
                <c:pt idx="831">
                  <c:v>86.664771846416215</c:v>
                </c:pt>
                <c:pt idx="832">
                  <c:v>87.302981758048688</c:v>
                </c:pt>
                <c:pt idx="833">
                  <c:v>87.879179370575173</c:v>
                </c:pt>
                <c:pt idx="834">
                  <c:v>87.933440132292901</c:v>
                </c:pt>
                <c:pt idx="835">
                  <c:v>87.468347888997982</c:v>
                </c:pt>
                <c:pt idx="836">
                  <c:v>87.667304015296381</c:v>
                </c:pt>
                <c:pt idx="837">
                  <c:v>87.486434809570568</c:v>
                </c:pt>
                <c:pt idx="838">
                  <c:v>88.362358534442677</c:v>
                </c:pt>
                <c:pt idx="839">
                  <c:v>88.517389282207631</c:v>
                </c:pt>
                <c:pt idx="840">
                  <c:v>88.985065371298646</c:v>
                </c:pt>
                <c:pt idx="841">
                  <c:v>89.581933750193784</c:v>
                </c:pt>
                <c:pt idx="842">
                  <c:v>90.01085215234356</c:v>
                </c:pt>
                <c:pt idx="843">
                  <c:v>90.204640587049781</c:v>
                </c:pt>
                <c:pt idx="844">
                  <c:v>89.904914474704157</c:v>
                </c:pt>
                <c:pt idx="845">
                  <c:v>89.594852979174206</c:v>
                </c:pt>
                <c:pt idx="846">
                  <c:v>89.915249857888497</c:v>
                </c:pt>
                <c:pt idx="847">
                  <c:v>90.150379825332024</c:v>
                </c:pt>
                <c:pt idx="848">
                  <c:v>88.995400754482972</c:v>
                </c:pt>
                <c:pt idx="849">
                  <c:v>88.367526226034826</c:v>
                </c:pt>
                <c:pt idx="850">
                  <c:v>89.243449950906921</c:v>
                </c:pt>
                <c:pt idx="851">
                  <c:v>89.656865278280193</c:v>
                </c:pt>
                <c:pt idx="852">
                  <c:v>90.527621311560139</c:v>
                </c:pt>
                <c:pt idx="853">
                  <c:v>91.20458891013385</c:v>
                </c:pt>
                <c:pt idx="854">
                  <c:v>91.408712728024383</c:v>
                </c:pt>
                <c:pt idx="855">
                  <c:v>91.284688129812423</c:v>
                </c:pt>
                <c:pt idx="856">
                  <c:v>91.796289597436825</c:v>
                </c:pt>
                <c:pt idx="857">
                  <c:v>92.065009560229456</c:v>
                </c:pt>
                <c:pt idx="858">
                  <c:v>90.698155134101597</c:v>
                </c:pt>
                <c:pt idx="859">
                  <c:v>90.744664358431095</c:v>
                </c:pt>
                <c:pt idx="860">
                  <c:v>91.139992765231781</c:v>
                </c:pt>
                <c:pt idx="861">
                  <c:v>91.046974316572786</c:v>
                </c:pt>
                <c:pt idx="862">
                  <c:v>89.891995245723734</c:v>
                </c:pt>
                <c:pt idx="863">
                  <c:v>89.447573768797483</c:v>
                </c:pt>
                <c:pt idx="864">
                  <c:v>88.819699240349337</c:v>
                </c:pt>
                <c:pt idx="865">
                  <c:v>88.853289235698412</c:v>
                </c:pt>
                <c:pt idx="866">
                  <c:v>88.804196165572847</c:v>
                </c:pt>
                <c:pt idx="867">
                  <c:v>89.181437651800948</c:v>
                </c:pt>
                <c:pt idx="868">
                  <c:v>89.10908996951062</c:v>
                </c:pt>
                <c:pt idx="869">
                  <c:v>88.538060048576313</c:v>
                </c:pt>
                <c:pt idx="870">
                  <c:v>88.377861609219167</c:v>
                </c:pt>
                <c:pt idx="871">
                  <c:v>89.297710712624678</c:v>
                </c:pt>
                <c:pt idx="872">
                  <c:v>89.390729161283659</c:v>
                </c:pt>
                <c:pt idx="873">
                  <c:v>90.367422872202994</c:v>
                </c:pt>
                <c:pt idx="874">
                  <c:v>91.013384321223711</c:v>
                </c:pt>
                <c:pt idx="875">
                  <c:v>91.58958193375021</c:v>
                </c:pt>
                <c:pt idx="876">
                  <c:v>91.276936592424164</c:v>
                </c:pt>
                <c:pt idx="877">
                  <c:v>90.723993592062442</c:v>
                </c:pt>
                <c:pt idx="878">
                  <c:v>91.085732003514025</c:v>
                </c:pt>
                <c:pt idx="879">
                  <c:v>91.643842695467939</c:v>
                </c:pt>
                <c:pt idx="880">
                  <c:v>92.561107953077368</c:v>
                </c:pt>
                <c:pt idx="881">
                  <c:v>92.155444163092355</c:v>
                </c:pt>
                <c:pt idx="882">
                  <c:v>92.641207172755941</c:v>
                </c:pt>
                <c:pt idx="883">
                  <c:v>92.754896387783575</c:v>
                </c:pt>
                <c:pt idx="884">
                  <c:v>92.561107953077368</c:v>
                </c:pt>
                <c:pt idx="885">
                  <c:v>92.026251873288217</c:v>
                </c:pt>
                <c:pt idx="886">
                  <c:v>90.525037465764058</c:v>
                </c:pt>
                <c:pt idx="887">
                  <c:v>89.548343754844723</c:v>
                </c:pt>
                <c:pt idx="888">
                  <c:v>89.181437651800948</c:v>
                </c:pt>
                <c:pt idx="889">
                  <c:v>90.432019017105063</c:v>
                </c:pt>
                <c:pt idx="890">
                  <c:v>90.744664358431095</c:v>
                </c:pt>
                <c:pt idx="891">
                  <c:v>89.954007544829722</c:v>
                </c:pt>
                <c:pt idx="892">
                  <c:v>89.432070694020979</c:v>
                </c:pt>
                <c:pt idx="893">
                  <c:v>89.961759082217981</c:v>
                </c:pt>
                <c:pt idx="894">
                  <c:v>89.437238385613142</c:v>
                </c:pt>
                <c:pt idx="895">
                  <c:v>88.669836184176532</c:v>
                </c:pt>
                <c:pt idx="896">
                  <c:v>89.527672988476056</c:v>
                </c:pt>
                <c:pt idx="897">
                  <c:v>89.336468399565916</c:v>
                </c:pt>
                <c:pt idx="898">
                  <c:v>88.38302930081133</c:v>
                </c:pt>
                <c:pt idx="899">
                  <c:v>88.207327786677695</c:v>
                </c:pt>
                <c:pt idx="900">
                  <c:v>86.393468037827517</c:v>
                </c:pt>
                <c:pt idx="901">
                  <c:v>84.380652162678942</c:v>
                </c:pt>
                <c:pt idx="902">
                  <c:v>83.987907601674337</c:v>
                </c:pt>
                <c:pt idx="903">
                  <c:v>84.65195597126764</c:v>
                </c:pt>
                <c:pt idx="904">
                  <c:v>84.445248307581011</c:v>
                </c:pt>
                <c:pt idx="905">
                  <c:v>85.486538163402415</c:v>
                </c:pt>
                <c:pt idx="906">
                  <c:v>85.620898144798716</c:v>
                </c:pt>
                <c:pt idx="907">
                  <c:v>86.171257299364385</c:v>
                </c:pt>
                <c:pt idx="908">
                  <c:v>86.525244173427737</c:v>
                </c:pt>
                <c:pt idx="909">
                  <c:v>86.992920262518737</c:v>
                </c:pt>
                <c:pt idx="910">
                  <c:v>86.95674642137358</c:v>
                </c:pt>
                <c:pt idx="911">
                  <c:v>87.377913286135083</c:v>
                </c:pt>
                <c:pt idx="912">
                  <c:v>88.021290889359733</c:v>
                </c:pt>
                <c:pt idx="913">
                  <c:v>87.364994057154675</c:v>
                </c:pt>
                <c:pt idx="914">
                  <c:v>88.052297038912712</c:v>
                </c:pt>
                <c:pt idx="915">
                  <c:v>87.811999379877008</c:v>
                </c:pt>
                <c:pt idx="916">
                  <c:v>87.84042168363392</c:v>
                </c:pt>
                <c:pt idx="917">
                  <c:v>87.31590098702911</c:v>
                </c:pt>
                <c:pt idx="918">
                  <c:v>87.427006356260662</c:v>
                </c:pt>
                <c:pt idx="919">
                  <c:v>86.987752570926574</c:v>
                </c:pt>
                <c:pt idx="920">
                  <c:v>86.706113379153535</c:v>
                </c:pt>
                <c:pt idx="921">
                  <c:v>85.522712004547571</c:v>
                </c:pt>
                <c:pt idx="922">
                  <c:v>85.80435119632061</c:v>
                </c:pt>
                <c:pt idx="923">
                  <c:v>85.941295023513007</c:v>
                </c:pt>
                <c:pt idx="924">
                  <c:v>86.269443439615529</c:v>
                </c:pt>
                <c:pt idx="925">
                  <c:v>86.222934215286031</c:v>
                </c:pt>
                <c:pt idx="926">
                  <c:v>86.039481163764151</c:v>
                </c:pt>
                <c:pt idx="927">
                  <c:v>86.543331094000308</c:v>
                </c:pt>
                <c:pt idx="928">
                  <c:v>86.912821042840164</c:v>
                </c:pt>
                <c:pt idx="929">
                  <c:v>86.943827192393158</c:v>
                </c:pt>
                <c:pt idx="930">
                  <c:v>87.145367164487624</c:v>
                </c:pt>
                <c:pt idx="931">
                  <c:v>86.959330267169662</c:v>
                </c:pt>
                <c:pt idx="932">
                  <c:v>87.132447935507216</c:v>
                </c:pt>
                <c:pt idx="933">
                  <c:v>87.029094103663894</c:v>
                </c:pt>
                <c:pt idx="934">
                  <c:v>86.796547982016435</c:v>
                </c:pt>
                <c:pt idx="935">
                  <c:v>85.866363495426583</c:v>
                </c:pt>
                <c:pt idx="936">
                  <c:v>86.48907033228258</c:v>
                </c:pt>
                <c:pt idx="937">
                  <c:v>87.370161748746838</c:v>
                </c:pt>
                <c:pt idx="938">
                  <c:v>88.49930236163506</c:v>
                </c:pt>
                <c:pt idx="939">
                  <c:v>88.765438478631609</c:v>
                </c:pt>
                <c:pt idx="940">
                  <c:v>88.607823885070545</c:v>
                </c:pt>
                <c:pt idx="941">
                  <c:v>88.817115394553255</c:v>
                </c:pt>
                <c:pt idx="942">
                  <c:v>88.269340085783682</c:v>
                </c:pt>
                <c:pt idx="943">
                  <c:v>87.67247170688853</c:v>
                </c:pt>
                <c:pt idx="944">
                  <c:v>87.605291716190379</c:v>
                </c:pt>
                <c:pt idx="945">
                  <c:v>87.923104749108575</c:v>
                </c:pt>
                <c:pt idx="946">
                  <c:v>88.168570099736456</c:v>
                </c:pt>
                <c:pt idx="947">
                  <c:v>88.215079324065954</c:v>
                </c:pt>
                <c:pt idx="948">
                  <c:v>87.525192496511821</c:v>
                </c:pt>
                <c:pt idx="949">
                  <c:v>87.176373314040617</c:v>
                </c:pt>
                <c:pt idx="950">
                  <c:v>87.669887861092448</c:v>
                </c:pt>
                <c:pt idx="951">
                  <c:v>87.956694744457664</c:v>
                </c:pt>
                <c:pt idx="952">
                  <c:v>87.737067851790613</c:v>
                </c:pt>
                <c:pt idx="953">
                  <c:v>87.65696863211204</c:v>
                </c:pt>
                <c:pt idx="954">
                  <c:v>88.088470880057884</c:v>
                </c:pt>
                <c:pt idx="955">
                  <c:v>86.667355692212297</c:v>
                </c:pt>
                <c:pt idx="956">
                  <c:v>85.910288873959999</c:v>
                </c:pt>
                <c:pt idx="957">
                  <c:v>84.845744405973861</c:v>
                </c:pt>
                <c:pt idx="958">
                  <c:v>83.987907601674337</c:v>
                </c:pt>
                <c:pt idx="959">
                  <c:v>83.672678414552209</c:v>
                </c:pt>
                <c:pt idx="960">
                  <c:v>83.468554596661676</c:v>
                </c:pt>
                <c:pt idx="961">
                  <c:v>84.396155237455432</c:v>
                </c:pt>
                <c:pt idx="962">
                  <c:v>84.031832980207753</c:v>
                </c:pt>
                <c:pt idx="963">
                  <c:v>83.954317606325262</c:v>
                </c:pt>
                <c:pt idx="964">
                  <c:v>84.463335228153582</c:v>
                </c:pt>
                <c:pt idx="965">
                  <c:v>84.17652834478838</c:v>
                </c:pt>
                <c:pt idx="966">
                  <c:v>84.349646013125934</c:v>
                </c:pt>
                <c:pt idx="967">
                  <c:v>83.819957624928946</c:v>
                </c:pt>
                <c:pt idx="968">
                  <c:v>83.840628391297614</c:v>
                </c:pt>
                <c:pt idx="969">
                  <c:v>84.801819027440445</c:v>
                </c:pt>
                <c:pt idx="970">
                  <c:v>84.328975246757281</c:v>
                </c:pt>
                <c:pt idx="971">
                  <c:v>84.819905948013016</c:v>
                </c:pt>
                <c:pt idx="972">
                  <c:v>84.365149087902438</c:v>
                </c:pt>
                <c:pt idx="973">
                  <c:v>84.055087592372487</c:v>
                </c:pt>
                <c:pt idx="974">
                  <c:v>84.533099064647828</c:v>
                </c:pt>
                <c:pt idx="975">
                  <c:v>85.504625083975</c:v>
                </c:pt>
                <c:pt idx="976">
                  <c:v>86.003307322618994</c:v>
                </c:pt>
                <c:pt idx="977">
                  <c:v>86.899901813859742</c:v>
                </c:pt>
                <c:pt idx="978">
                  <c:v>87.039429486848235</c:v>
                </c:pt>
                <c:pt idx="979">
                  <c:v>87.191876388817107</c:v>
                </c:pt>
                <c:pt idx="980">
                  <c:v>87.89985013694384</c:v>
                </c:pt>
                <c:pt idx="981">
                  <c:v>88.186657020309028</c:v>
                </c:pt>
                <c:pt idx="982">
                  <c:v>88.277091623171927</c:v>
                </c:pt>
                <c:pt idx="983">
                  <c:v>88.083303188465706</c:v>
                </c:pt>
                <c:pt idx="984">
                  <c:v>87.561366337656978</c:v>
                </c:pt>
                <c:pt idx="985">
                  <c:v>87.377913286135083</c:v>
                </c:pt>
                <c:pt idx="986">
                  <c:v>86.786212598832108</c:v>
                </c:pt>
                <c:pt idx="987">
                  <c:v>87.129864089711134</c:v>
                </c:pt>
                <c:pt idx="988">
                  <c:v>86.654436463231875</c:v>
                </c:pt>
                <c:pt idx="989">
                  <c:v>86.902485659655838</c:v>
                </c:pt>
                <c:pt idx="990">
                  <c:v>87.396000206707669</c:v>
                </c:pt>
                <c:pt idx="991">
                  <c:v>87.538111725492229</c:v>
                </c:pt>
                <c:pt idx="992">
                  <c:v>87.990284739806739</c:v>
                </c:pt>
                <c:pt idx="993">
                  <c:v>87.654384786315958</c:v>
                </c:pt>
                <c:pt idx="994">
                  <c:v>86.87147951010283</c:v>
                </c:pt>
                <c:pt idx="995">
                  <c:v>86.005891168415076</c:v>
                </c:pt>
                <c:pt idx="996">
                  <c:v>86.080822696501471</c:v>
                </c:pt>
                <c:pt idx="997">
                  <c:v>85.24624050436671</c:v>
                </c:pt>
                <c:pt idx="998">
                  <c:v>85.721668130845956</c:v>
                </c:pt>
                <c:pt idx="999">
                  <c:v>83.791535321172034</c:v>
                </c:pt>
                <c:pt idx="1000">
                  <c:v>82.920779287892117</c:v>
                </c:pt>
                <c:pt idx="1001">
                  <c:v>80.163815823471666</c:v>
                </c:pt>
                <c:pt idx="1002">
                  <c:v>78.964911374089198</c:v>
                </c:pt>
                <c:pt idx="1003">
                  <c:v>75.016794997674538</c:v>
                </c:pt>
                <c:pt idx="1004">
                  <c:v>76.861660896077737</c:v>
                </c:pt>
                <c:pt idx="1005">
                  <c:v>74.877267324686073</c:v>
                </c:pt>
                <c:pt idx="1006">
                  <c:v>76.732468606273585</c:v>
                </c:pt>
                <c:pt idx="1007">
                  <c:v>77.990801508965944</c:v>
                </c:pt>
                <c:pt idx="1008">
                  <c:v>78.316366079272399</c:v>
                </c:pt>
                <c:pt idx="1009">
                  <c:v>78.055397653868013</c:v>
                </c:pt>
                <c:pt idx="1010">
                  <c:v>78.026975350111115</c:v>
                </c:pt>
                <c:pt idx="1011">
                  <c:v>75.375949563330067</c:v>
                </c:pt>
                <c:pt idx="1012">
                  <c:v>73.766213632370423</c:v>
                </c:pt>
                <c:pt idx="1013">
                  <c:v>73.908325151154983</c:v>
                </c:pt>
                <c:pt idx="1014">
                  <c:v>75.559402614851962</c:v>
                </c:pt>
                <c:pt idx="1015">
                  <c:v>76.140767918970596</c:v>
                </c:pt>
                <c:pt idx="1016">
                  <c:v>75.595576455997104</c:v>
                </c:pt>
                <c:pt idx="1017">
                  <c:v>76.083923311456772</c:v>
                </c:pt>
                <c:pt idx="1018">
                  <c:v>76.952095498940622</c:v>
                </c:pt>
                <c:pt idx="1019">
                  <c:v>77.846106144385303</c:v>
                </c:pt>
                <c:pt idx="1020">
                  <c:v>79.042426747971689</c:v>
                </c:pt>
                <c:pt idx="1021">
                  <c:v>79.370575164074211</c:v>
                </c:pt>
                <c:pt idx="1022">
                  <c:v>77.78150999948322</c:v>
                </c:pt>
                <c:pt idx="1023">
                  <c:v>76.848741667097315</c:v>
                </c:pt>
                <c:pt idx="1024">
                  <c:v>76.474084026665295</c:v>
                </c:pt>
                <c:pt idx="1025">
                  <c:v>78.56183142990028</c:v>
                </c:pt>
                <c:pt idx="1026">
                  <c:v>78.502402976590361</c:v>
                </c:pt>
                <c:pt idx="1027">
                  <c:v>77.817683840628405</c:v>
                </c:pt>
                <c:pt idx="1028">
                  <c:v>77.538628494651434</c:v>
                </c:pt>
                <c:pt idx="1029">
                  <c:v>77.967546896801196</c:v>
                </c:pt>
                <c:pt idx="1030">
                  <c:v>78.691023719704418</c:v>
                </c:pt>
                <c:pt idx="1031">
                  <c:v>79.334401322929054</c:v>
                </c:pt>
                <c:pt idx="1032">
                  <c:v>80.179318898248155</c:v>
                </c:pt>
                <c:pt idx="1033">
                  <c:v>79.848586636349538</c:v>
                </c:pt>
                <c:pt idx="1034">
                  <c:v>79.623792052090337</c:v>
                </c:pt>
                <c:pt idx="1035">
                  <c:v>78.094155340809266</c:v>
                </c:pt>
                <c:pt idx="1036">
                  <c:v>76.078755619864609</c:v>
                </c:pt>
                <c:pt idx="1037">
                  <c:v>76.138184073174514</c:v>
                </c:pt>
                <c:pt idx="1038">
                  <c:v>77.339672368353064</c:v>
                </c:pt>
                <c:pt idx="1039">
                  <c:v>78.587669887861082</c:v>
                </c:pt>
                <c:pt idx="1040">
                  <c:v>77.706578471396838</c:v>
                </c:pt>
                <c:pt idx="1041">
                  <c:v>77.923621518267794</c:v>
                </c:pt>
                <c:pt idx="1042">
                  <c:v>77.476616195545461</c:v>
                </c:pt>
                <c:pt idx="1043">
                  <c:v>76.233786367629591</c:v>
                </c:pt>
                <c:pt idx="1044">
                  <c:v>76.112345615213684</c:v>
                </c:pt>
                <c:pt idx="1045">
                  <c:v>77.445610045992467</c:v>
                </c:pt>
                <c:pt idx="1046">
                  <c:v>78.864141388041972</c:v>
                </c:pt>
                <c:pt idx="1047">
                  <c:v>78.564415275696348</c:v>
                </c:pt>
                <c:pt idx="1048">
                  <c:v>79.680636659604147</c:v>
                </c:pt>
                <c:pt idx="1049">
                  <c:v>79.990698155134098</c:v>
                </c:pt>
                <c:pt idx="1050">
                  <c:v>80.1870704356364</c:v>
                </c:pt>
                <c:pt idx="1051">
                  <c:v>80.31367887964447</c:v>
                </c:pt>
                <c:pt idx="1052">
                  <c:v>80.491964239574173</c:v>
                </c:pt>
                <c:pt idx="1053">
                  <c:v>80.150896594491243</c:v>
                </c:pt>
                <c:pt idx="1054">
                  <c:v>80.918298795927868</c:v>
                </c:pt>
                <c:pt idx="1055">
                  <c:v>80.099219678569582</c:v>
                </c:pt>
                <c:pt idx="1056">
                  <c:v>80.104387370161746</c:v>
                </c:pt>
                <c:pt idx="1057">
                  <c:v>80.783938814531538</c:v>
                </c:pt>
                <c:pt idx="1058">
                  <c:v>82.081029404165164</c:v>
                </c:pt>
                <c:pt idx="1059">
                  <c:v>80.910547258539609</c:v>
                </c:pt>
                <c:pt idx="1060">
                  <c:v>81.690868688956655</c:v>
                </c:pt>
                <c:pt idx="1061">
                  <c:v>83.189499250684719</c:v>
                </c:pt>
                <c:pt idx="1062">
                  <c:v>83.230840783422053</c:v>
                </c:pt>
                <c:pt idx="1063">
                  <c:v>82.093948633145587</c:v>
                </c:pt>
                <c:pt idx="1064">
                  <c:v>80.796858043511961</c:v>
                </c:pt>
                <c:pt idx="1065">
                  <c:v>81.062994160508509</c:v>
                </c:pt>
                <c:pt idx="1066">
                  <c:v>82.559040876440491</c:v>
                </c:pt>
                <c:pt idx="1067">
                  <c:v>82.254147072502718</c:v>
                </c:pt>
                <c:pt idx="1068">
                  <c:v>82.432432432432435</c:v>
                </c:pt>
                <c:pt idx="1069">
                  <c:v>82.804506227068373</c:v>
                </c:pt>
                <c:pt idx="1070">
                  <c:v>81.83039636194512</c:v>
                </c:pt>
                <c:pt idx="1071">
                  <c:v>81.644359464627158</c:v>
                </c:pt>
                <c:pt idx="1072">
                  <c:v>82.574543951216995</c:v>
                </c:pt>
                <c:pt idx="1073">
                  <c:v>82.491860885742341</c:v>
                </c:pt>
                <c:pt idx="1074">
                  <c:v>82.892356984135191</c:v>
                </c:pt>
                <c:pt idx="1075">
                  <c:v>82.044855563019993</c:v>
                </c:pt>
                <c:pt idx="1076">
                  <c:v>81.050074931528087</c:v>
                </c:pt>
                <c:pt idx="1077">
                  <c:v>80.595318071417509</c:v>
                </c:pt>
                <c:pt idx="1078">
                  <c:v>79.114774430262003</c:v>
                </c:pt>
                <c:pt idx="1079">
                  <c:v>78.70135910288873</c:v>
                </c:pt>
                <c:pt idx="1080">
                  <c:v>77.853857681773547</c:v>
                </c:pt>
                <c:pt idx="1081">
                  <c:v>77.820267686424486</c:v>
                </c:pt>
                <c:pt idx="1082">
                  <c:v>77.970130742597291</c:v>
                </c:pt>
                <c:pt idx="1083">
                  <c:v>79.923518164435947</c:v>
                </c:pt>
                <c:pt idx="1084">
                  <c:v>80.574647305048828</c:v>
                </c:pt>
                <c:pt idx="1085">
                  <c:v>82.848431605601775</c:v>
                </c:pt>
                <c:pt idx="1086">
                  <c:v>82.874270063562619</c:v>
                </c:pt>
                <c:pt idx="1087">
                  <c:v>83.331610769469279</c:v>
                </c:pt>
                <c:pt idx="1088">
                  <c:v>83.923311456772268</c:v>
                </c:pt>
                <c:pt idx="1089">
                  <c:v>84.031832980207753</c:v>
                </c:pt>
                <c:pt idx="1090">
                  <c:v>84.264379101855198</c:v>
                </c:pt>
                <c:pt idx="1091">
                  <c:v>83.181747713296474</c:v>
                </c:pt>
                <c:pt idx="1092">
                  <c:v>83.690765335124794</c:v>
                </c:pt>
                <c:pt idx="1093">
                  <c:v>83.341946152653605</c:v>
                </c:pt>
                <c:pt idx="1094">
                  <c:v>83.46597075086558</c:v>
                </c:pt>
                <c:pt idx="1095">
                  <c:v>82.884605446746946</c:v>
                </c:pt>
                <c:pt idx="1096">
                  <c:v>82.838096222417462</c:v>
                </c:pt>
                <c:pt idx="1097">
                  <c:v>82.781251614903624</c:v>
                </c:pt>
                <c:pt idx="1098">
                  <c:v>82.15596093225156</c:v>
                </c:pt>
                <c:pt idx="1099">
                  <c:v>83.602914578057991</c:v>
                </c:pt>
                <c:pt idx="1100">
                  <c:v>84.042168363392079</c:v>
                </c:pt>
                <c:pt idx="1101">
                  <c:v>84.579608288977312</c:v>
                </c:pt>
                <c:pt idx="1102">
                  <c:v>85.375432794170848</c:v>
                </c:pt>
                <c:pt idx="1103">
                  <c:v>85.305668957676602</c:v>
                </c:pt>
                <c:pt idx="1104">
                  <c:v>84.990439770554502</c:v>
                </c:pt>
                <c:pt idx="1105">
                  <c:v>85.866363495426583</c:v>
                </c:pt>
                <c:pt idx="1106">
                  <c:v>85.825021962689277</c:v>
                </c:pt>
                <c:pt idx="1107">
                  <c:v>86.078238850705389</c:v>
                </c:pt>
                <c:pt idx="1108">
                  <c:v>87.057516407420806</c:v>
                </c:pt>
                <c:pt idx="1109">
                  <c:v>87.845589375226098</c:v>
                </c:pt>
                <c:pt idx="1110">
                  <c:v>88.127228566999122</c:v>
                </c:pt>
                <c:pt idx="1111">
                  <c:v>88.279675468968023</c:v>
                </c:pt>
                <c:pt idx="1112">
                  <c:v>88.186657020309028</c:v>
                </c:pt>
                <c:pt idx="1113">
                  <c:v>89.016071520851639</c:v>
                </c:pt>
                <c:pt idx="1114">
                  <c:v>89.437238385613142</c:v>
                </c:pt>
                <c:pt idx="1115">
                  <c:v>88.90754999741614</c:v>
                </c:pt>
                <c:pt idx="1116">
                  <c:v>89.380393778099332</c:v>
                </c:pt>
                <c:pt idx="1117">
                  <c:v>89.429486848224897</c:v>
                </c:pt>
                <c:pt idx="1118">
                  <c:v>89.700790656813609</c:v>
                </c:pt>
                <c:pt idx="1119">
                  <c:v>89.904914474704157</c:v>
                </c:pt>
                <c:pt idx="1120">
                  <c:v>90.176218283292854</c:v>
                </c:pt>
                <c:pt idx="1121">
                  <c:v>90.20980827864193</c:v>
                </c:pt>
                <c:pt idx="1122">
                  <c:v>89.83515063820991</c:v>
                </c:pt>
                <c:pt idx="1123">
                  <c:v>89.863572941966822</c:v>
                </c:pt>
                <c:pt idx="1124">
                  <c:v>90.370006717999075</c:v>
                </c:pt>
                <c:pt idx="1125">
                  <c:v>89.687871427833201</c:v>
                </c:pt>
                <c:pt idx="1126">
                  <c:v>89.556095292232968</c:v>
                </c:pt>
                <c:pt idx="1127">
                  <c:v>89.137512273267532</c:v>
                </c:pt>
                <c:pt idx="1128">
                  <c:v>89.475996072554395</c:v>
                </c:pt>
                <c:pt idx="1129">
                  <c:v>89.946256007441477</c:v>
                </c:pt>
                <c:pt idx="1130">
                  <c:v>90.331249031057837</c:v>
                </c:pt>
                <c:pt idx="1131">
                  <c:v>91.63609115807968</c:v>
                </c:pt>
                <c:pt idx="1132">
                  <c:v>91.93064957883314</c:v>
                </c:pt>
                <c:pt idx="1133">
                  <c:v>91.1374089194357</c:v>
                </c:pt>
                <c:pt idx="1134">
                  <c:v>91.305358896181076</c:v>
                </c:pt>
                <c:pt idx="1135">
                  <c:v>91.170998914784775</c:v>
                </c:pt>
                <c:pt idx="1136">
                  <c:v>90.912614335176485</c:v>
                </c:pt>
                <c:pt idx="1137">
                  <c:v>91.411296573820465</c:v>
                </c:pt>
                <c:pt idx="1138">
                  <c:v>91.623171929099271</c:v>
                </c:pt>
                <c:pt idx="1139">
                  <c:v>92.212288770606179</c:v>
                </c:pt>
                <c:pt idx="1140">
                  <c:v>92.741977158803167</c:v>
                </c:pt>
                <c:pt idx="1141">
                  <c:v>92.486176424990958</c:v>
                </c:pt>
                <c:pt idx="1142">
                  <c:v>92.395741822128059</c:v>
                </c:pt>
                <c:pt idx="1143">
                  <c:v>92.261381840731744</c:v>
                </c:pt>
                <c:pt idx="1144">
                  <c:v>92.052090331249033</c:v>
                </c:pt>
                <c:pt idx="1145">
                  <c:v>91.907394966668392</c:v>
                </c:pt>
                <c:pt idx="1146">
                  <c:v>91.357035812102737</c:v>
                </c:pt>
                <c:pt idx="1147">
                  <c:v>91.672264999224851</c:v>
                </c:pt>
                <c:pt idx="1148">
                  <c:v>91.86346958813499</c:v>
                </c:pt>
                <c:pt idx="1149">
                  <c:v>91.891891891891902</c:v>
                </c:pt>
                <c:pt idx="1150">
                  <c:v>92.586946411038184</c:v>
                </c:pt>
                <c:pt idx="1151">
                  <c:v>93.077877112293947</c:v>
                </c:pt>
                <c:pt idx="1152">
                  <c:v>92.426747971681039</c:v>
                </c:pt>
                <c:pt idx="1153">
                  <c:v>91.336365045734084</c:v>
                </c:pt>
                <c:pt idx="1154">
                  <c:v>91.690351919797436</c:v>
                </c:pt>
                <c:pt idx="1155">
                  <c:v>92.065009560229456</c:v>
                </c:pt>
                <c:pt idx="1156">
                  <c:v>93.250994780631487</c:v>
                </c:pt>
                <c:pt idx="1157">
                  <c:v>92.959020205674122</c:v>
                </c:pt>
                <c:pt idx="1158">
                  <c:v>94.535166141284705</c:v>
                </c:pt>
                <c:pt idx="1159">
                  <c:v>94.940829931269704</c:v>
                </c:pt>
                <c:pt idx="1160">
                  <c:v>95.248307581003573</c:v>
                </c:pt>
                <c:pt idx="1161">
                  <c:v>94.989923001395283</c:v>
                </c:pt>
                <c:pt idx="1162">
                  <c:v>94.801302258281225</c:v>
                </c:pt>
                <c:pt idx="1163">
                  <c:v>94.305203865433313</c:v>
                </c:pt>
                <c:pt idx="1164">
                  <c:v>94.222520799958659</c:v>
                </c:pt>
                <c:pt idx="1165">
                  <c:v>93.648907033228255</c:v>
                </c:pt>
                <c:pt idx="1166">
                  <c:v>93.4318639863573</c:v>
                </c:pt>
                <c:pt idx="1167">
                  <c:v>94.036483902640697</c:v>
                </c:pt>
                <c:pt idx="1168">
                  <c:v>94.031316211048534</c:v>
                </c:pt>
                <c:pt idx="1169">
                  <c:v>93.661826262208677</c:v>
                </c:pt>
                <c:pt idx="1170">
                  <c:v>93.238075551651093</c:v>
                </c:pt>
                <c:pt idx="1171">
                  <c:v>93.439615523745545</c:v>
                </c:pt>
                <c:pt idx="1172">
                  <c:v>94.408557697276635</c:v>
                </c:pt>
                <c:pt idx="1173">
                  <c:v>93.648907033228255</c:v>
                </c:pt>
                <c:pt idx="1174">
                  <c:v>93.411193219988633</c:v>
                </c:pt>
                <c:pt idx="1175">
                  <c:v>93.695416257557753</c:v>
                </c:pt>
                <c:pt idx="1176">
                  <c:v>91.380290424267486</c:v>
                </c:pt>
                <c:pt idx="1177">
                  <c:v>91.615420391711027</c:v>
                </c:pt>
                <c:pt idx="1178">
                  <c:v>92.517182574543952</c:v>
                </c:pt>
                <c:pt idx="1179">
                  <c:v>92.067593406025523</c:v>
                </c:pt>
                <c:pt idx="1180">
                  <c:v>92.127021859335443</c:v>
                </c:pt>
                <c:pt idx="1181">
                  <c:v>92.990026355227116</c:v>
                </c:pt>
                <c:pt idx="1182">
                  <c:v>92.935765593509387</c:v>
                </c:pt>
                <c:pt idx="1183">
                  <c:v>92.37248720996331</c:v>
                </c:pt>
                <c:pt idx="1184">
                  <c:v>92.204537233217934</c:v>
                </c:pt>
                <c:pt idx="1185">
                  <c:v>91.540488863624617</c:v>
                </c:pt>
                <c:pt idx="1186">
                  <c:v>91.537905017828535</c:v>
                </c:pt>
                <c:pt idx="1187">
                  <c:v>92.659294093328512</c:v>
                </c:pt>
                <c:pt idx="1188">
                  <c:v>92.915094827140734</c:v>
                </c:pt>
                <c:pt idx="1189">
                  <c:v>93.101131724458682</c:v>
                </c:pt>
                <c:pt idx="1190">
                  <c:v>92.984858663634967</c:v>
                </c:pt>
                <c:pt idx="1191">
                  <c:v>93.24065939744716</c:v>
                </c:pt>
                <c:pt idx="1192">
                  <c:v>93.39052245361998</c:v>
                </c:pt>
                <c:pt idx="1193">
                  <c:v>92.907343289752475</c:v>
                </c:pt>
                <c:pt idx="1194">
                  <c:v>91.814376518009396</c:v>
                </c:pt>
                <c:pt idx="1195">
                  <c:v>91.951320345201808</c:v>
                </c:pt>
                <c:pt idx="1196">
                  <c:v>91.594749625342359</c:v>
                </c:pt>
                <c:pt idx="1197">
                  <c:v>91.367371195287078</c:v>
                </c:pt>
                <c:pt idx="1198">
                  <c:v>91.522401943052031</c:v>
                </c:pt>
                <c:pt idx="1199">
                  <c:v>91.439718877577391</c:v>
                </c:pt>
                <c:pt idx="1200">
                  <c:v>90.884192031419573</c:v>
                </c:pt>
                <c:pt idx="1201">
                  <c:v>90.571546690093527</c:v>
                </c:pt>
                <c:pt idx="1202">
                  <c:v>90.114205984186867</c:v>
                </c:pt>
                <c:pt idx="1203">
                  <c:v>89.434654539817075</c:v>
                </c:pt>
                <c:pt idx="1204">
                  <c:v>88.333936230685765</c:v>
                </c:pt>
                <c:pt idx="1205">
                  <c:v>88.997984600279054</c:v>
                </c:pt>
                <c:pt idx="1206">
                  <c:v>89.729212960570521</c:v>
                </c:pt>
                <c:pt idx="1207">
                  <c:v>89.987597540178797</c:v>
                </c:pt>
                <c:pt idx="1208">
                  <c:v>90.300242881504843</c:v>
                </c:pt>
                <c:pt idx="1209">
                  <c:v>90.574130535889623</c:v>
                </c:pt>
                <c:pt idx="1210">
                  <c:v>90.51986977417188</c:v>
                </c:pt>
                <c:pt idx="1211">
                  <c:v>91.442302723373473</c:v>
                </c:pt>
                <c:pt idx="1212">
                  <c:v>90.992713554855058</c:v>
                </c:pt>
                <c:pt idx="1213">
                  <c:v>90.915198180972567</c:v>
                </c:pt>
                <c:pt idx="1214">
                  <c:v>89.0677484367733</c:v>
                </c:pt>
                <c:pt idx="1215">
                  <c:v>87.951527052865487</c:v>
                </c:pt>
                <c:pt idx="1216">
                  <c:v>88.713761562709934</c:v>
                </c:pt>
                <c:pt idx="1217">
                  <c:v>90.429435171308981</c:v>
                </c:pt>
                <c:pt idx="1218">
                  <c:v>90.530205157356221</c:v>
                </c:pt>
                <c:pt idx="1219">
                  <c:v>91.049558162368868</c:v>
                </c:pt>
                <c:pt idx="1220">
                  <c:v>90.437186708697226</c:v>
                </c:pt>
                <c:pt idx="1221">
                  <c:v>91.375122732675322</c:v>
                </c:pt>
                <c:pt idx="1222">
                  <c:v>90.426851325512899</c:v>
                </c:pt>
                <c:pt idx="1223">
                  <c:v>90.687819750917271</c:v>
                </c:pt>
                <c:pt idx="1224">
                  <c:v>91.44747041496565</c:v>
                </c:pt>
                <c:pt idx="1225">
                  <c:v>92.052090331249033</c:v>
                </c:pt>
                <c:pt idx="1226">
                  <c:v>92.465505658622305</c:v>
                </c:pt>
                <c:pt idx="1227">
                  <c:v>92.504263345563544</c:v>
                </c:pt>
                <c:pt idx="1228">
                  <c:v>91.537905017828535</c:v>
                </c:pt>
                <c:pt idx="1229">
                  <c:v>91.93064957883314</c:v>
                </c:pt>
                <c:pt idx="1230">
                  <c:v>91.013384321223711</c:v>
                </c:pt>
                <c:pt idx="1231">
                  <c:v>91.233011213890762</c:v>
                </c:pt>
                <c:pt idx="1232">
                  <c:v>92.209704924810083</c:v>
                </c:pt>
                <c:pt idx="1233">
                  <c:v>92.302723373469078</c:v>
                </c:pt>
                <c:pt idx="1234">
                  <c:v>93.088212495478274</c:v>
                </c:pt>
                <c:pt idx="1235">
                  <c:v>94.235440028939081</c:v>
                </c:pt>
                <c:pt idx="1236">
                  <c:v>94.907239935920629</c:v>
                </c:pt>
                <c:pt idx="1237">
                  <c:v>95.540282155960938</c:v>
                </c:pt>
                <c:pt idx="1238">
                  <c:v>95.935610562761624</c:v>
                </c:pt>
                <c:pt idx="1239">
                  <c:v>95.529946772776611</c:v>
                </c:pt>
                <c:pt idx="1240">
                  <c:v>95.163040669732837</c:v>
                </c:pt>
                <c:pt idx="1241">
                  <c:v>95.119115291199435</c:v>
                </c:pt>
                <c:pt idx="1242">
                  <c:v>95.155289132344578</c:v>
                </c:pt>
                <c:pt idx="1243">
                  <c:v>94.76771226293215</c:v>
                </c:pt>
                <c:pt idx="1244">
                  <c:v>95.703064441114165</c:v>
                </c:pt>
                <c:pt idx="1245">
                  <c:v>95.739238282259308</c:v>
                </c:pt>
                <c:pt idx="1246">
                  <c:v>96.227585137718989</c:v>
                </c:pt>
                <c:pt idx="1247">
                  <c:v>96.573820474394097</c:v>
                </c:pt>
                <c:pt idx="1248">
                  <c:v>97.317968063665958</c:v>
                </c:pt>
                <c:pt idx="1249">
                  <c:v>96.788279675468971</c:v>
                </c:pt>
                <c:pt idx="1250">
                  <c:v>95.607462146659088</c:v>
                </c:pt>
                <c:pt idx="1251">
                  <c:v>95.163040669732837</c:v>
                </c:pt>
                <c:pt idx="1252">
                  <c:v>94.754793033951742</c:v>
                </c:pt>
                <c:pt idx="1253">
                  <c:v>95.429176786729357</c:v>
                </c:pt>
                <c:pt idx="1254">
                  <c:v>96.597075086558846</c:v>
                </c:pt>
                <c:pt idx="1255">
                  <c:v>97.927755671541533</c:v>
                </c:pt>
                <c:pt idx="1256">
                  <c:v>97.119011937367588</c:v>
                </c:pt>
                <c:pt idx="1257">
                  <c:v>97.077670404630254</c:v>
                </c:pt>
                <c:pt idx="1258">
                  <c:v>97.144850395328419</c:v>
                </c:pt>
                <c:pt idx="1259">
                  <c:v>97.58927187225467</c:v>
                </c:pt>
                <c:pt idx="1260">
                  <c:v>97.713296470466645</c:v>
                </c:pt>
                <c:pt idx="1261">
                  <c:v>98.30499715776962</c:v>
                </c:pt>
                <c:pt idx="1262">
                  <c:v>98.83210170017054</c:v>
                </c:pt>
                <c:pt idx="1263">
                  <c:v>99.366957779959691</c:v>
                </c:pt>
                <c:pt idx="1264">
                  <c:v>99.348870859387119</c:v>
                </c:pt>
                <c:pt idx="1265">
                  <c:v>98.894113999276527</c:v>
                </c:pt>
                <c:pt idx="1266">
                  <c:v>99.255852410728124</c:v>
                </c:pt>
                <c:pt idx="1267">
                  <c:v>99.527156219316836</c:v>
                </c:pt>
                <c:pt idx="1268">
                  <c:v>99.713193116634812</c:v>
                </c:pt>
                <c:pt idx="1269">
                  <c:v>100.46250839749884</c:v>
                </c:pt>
                <c:pt idx="1270">
                  <c:v>100.08526691127075</c:v>
                </c:pt>
                <c:pt idx="1271">
                  <c:v>99.279107022892887</c:v>
                </c:pt>
                <c:pt idx="1272">
                  <c:v>98.940623223606025</c:v>
                </c:pt>
                <c:pt idx="1273">
                  <c:v>97.886414138804184</c:v>
                </c:pt>
                <c:pt idx="1274">
                  <c:v>98.410934835409023</c:v>
                </c:pt>
                <c:pt idx="1275">
                  <c:v>98.478114826107173</c:v>
                </c:pt>
                <c:pt idx="1276">
                  <c:v>97.899333367784607</c:v>
                </c:pt>
                <c:pt idx="1277">
                  <c:v>98.144798718412488</c:v>
                </c:pt>
                <c:pt idx="1278">
                  <c:v>97.529843418944765</c:v>
                </c:pt>
                <c:pt idx="1279">
                  <c:v>97.240452689783467</c:v>
                </c:pt>
                <c:pt idx="1280">
                  <c:v>97.540178802129091</c:v>
                </c:pt>
                <c:pt idx="1281">
                  <c:v>97.232701152395222</c:v>
                </c:pt>
                <c:pt idx="1282">
                  <c:v>96.806366596041556</c:v>
                </c:pt>
                <c:pt idx="1283">
                  <c:v>98.37476099426388</c:v>
                </c:pt>
                <c:pt idx="1284">
                  <c:v>98.232649475479306</c:v>
                </c:pt>
                <c:pt idx="1285">
                  <c:v>97.938091054725859</c:v>
                </c:pt>
                <c:pt idx="1286">
                  <c:v>97.878662601415954</c:v>
                </c:pt>
                <c:pt idx="1287">
                  <c:v>97.958761821094527</c:v>
                </c:pt>
                <c:pt idx="1288">
                  <c:v>98.726164022531137</c:v>
                </c:pt>
                <c:pt idx="1289">
                  <c:v>98.268823316624463</c:v>
                </c:pt>
                <c:pt idx="1290">
                  <c:v>97.966513358482771</c:v>
                </c:pt>
                <c:pt idx="1291">
                  <c:v>98.206811017518476</c:v>
                </c:pt>
                <c:pt idx="1292">
                  <c:v>98.527207896232767</c:v>
                </c:pt>
                <c:pt idx="1293">
                  <c:v>98.811430933801887</c:v>
                </c:pt>
                <c:pt idx="1294">
                  <c:v>98.816598625394036</c:v>
                </c:pt>
                <c:pt idx="1295">
                  <c:v>98.935455532013847</c:v>
                </c:pt>
                <c:pt idx="1296">
                  <c:v>98.297245620381375</c:v>
                </c:pt>
                <c:pt idx="1297">
                  <c:v>97.971681050074949</c:v>
                </c:pt>
                <c:pt idx="1298">
                  <c:v>98.612474807503489</c:v>
                </c:pt>
                <c:pt idx="1299">
                  <c:v>97.920004134153288</c:v>
                </c:pt>
                <c:pt idx="1300">
                  <c:v>98.168053330577237</c:v>
                </c:pt>
                <c:pt idx="1301">
                  <c:v>97.982016433259261</c:v>
                </c:pt>
                <c:pt idx="1302">
                  <c:v>98.191307942741986</c:v>
                </c:pt>
                <c:pt idx="1303">
                  <c:v>98.168053330577237</c:v>
                </c:pt>
                <c:pt idx="1304">
                  <c:v>98.191307942741986</c:v>
                </c:pt>
                <c:pt idx="1305">
                  <c:v>98.253320241847959</c:v>
                </c:pt>
                <c:pt idx="1306">
                  <c:v>97.868327218231627</c:v>
                </c:pt>
                <c:pt idx="1307">
                  <c:v>97.20427884863831</c:v>
                </c:pt>
                <c:pt idx="1308">
                  <c:v>97.175856544881398</c:v>
                </c:pt>
                <c:pt idx="1309">
                  <c:v>96.806366596041556</c:v>
                </c:pt>
                <c:pt idx="1310">
                  <c:v>97.524675727352587</c:v>
                </c:pt>
                <c:pt idx="1311">
                  <c:v>98.095705648286909</c:v>
                </c:pt>
                <c:pt idx="1312">
                  <c:v>98.126711797839903</c:v>
                </c:pt>
                <c:pt idx="1313">
                  <c:v>98.364425611079525</c:v>
                </c:pt>
                <c:pt idx="1314">
                  <c:v>97.591855718050752</c:v>
                </c:pt>
                <c:pt idx="1315">
                  <c:v>97.196527311250065</c:v>
                </c:pt>
                <c:pt idx="1316">
                  <c:v>96.475634334142939</c:v>
                </c:pt>
                <c:pt idx="1317">
                  <c:v>96.361945119115305</c:v>
                </c:pt>
                <c:pt idx="1318">
                  <c:v>96.73660275954731</c:v>
                </c:pt>
                <c:pt idx="1319">
                  <c:v>96.73660275954731</c:v>
                </c:pt>
                <c:pt idx="1320">
                  <c:v>96.682341997829582</c:v>
                </c:pt>
                <c:pt idx="1321">
                  <c:v>96.532478941656777</c:v>
                </c:pt>
                <c:pt idx="1322">
                  <c:v>96.651335848276574</c:v>
                </c:pt>
                <c:pt idx="1323">
                  <c:v>97.640948788176317</c:v>
                </c:pt>
                <c:pt idx="1324">
                  <c:v>97.834737222882538</c:v>
                </c:pt>
                <c:pt idx="1325">
                  <c:v>98.111208723063399</c:v>
                </c:pt>
                <c:pt idx="1326">
                  <c:v>98.550462508397501</c:v>
                </c:pt>
                <c:pt idx="1327">
                  <c:v>97.343806521626803</c:v>
                </c:pt>
                <c:pt idx="1328">
                  <c:v>96.625497390315743</c:v>
                </c:pt>
                <c:pt idx="1329">
                  <c:v>96.72109968477082</c:v>
                </c:pt>
                <c:pt idx="1330">
                  <c:v>96.571236628598015</c:v>
                </c:pt>
                <c:pt idx="1331">
                  <c:v>96.387783577076121</c:v>
                </c:pt>
                <c:pt idx="1332">
                  <c:v>95.194046819285845</c:v>
                </c:pt>
                <c:pt idx="1333">
                  <c:v>94.46798615058654</c:v>
                </c:pt>
                <c:pt idx="1334">
                  <c:v>95.075189912666019</c:v>
                </c:pt>
                <c:pt idx="1335">
                  <c:v>96.318019740581889</c:v>
                </c:pt>
                <c:pt idx="1336">
                  <c:v>96.454963567774286</c:v>
                </c:pt>
                <c:pt idx="1337">
                  <c:v>96.56348509120977</c:v>
                </c:pt>
                <c:pt idx="1338">
                  <c:v>96.558317399617593</c:v>
                </c:pt>
                <c:pt idx="1339">
                  <c:v>97.064751175649846</c:v>
                </c:pt>
                <c:pt idx="1340">
                  <c:v>96.86321120355538</c:v>
                </c:pt>
                <c:pt idx="1341">
                  <c:v>96.891633507312292</c:v>
                </c:pt>
                <c:pt idx="1342">
                  <c:v>97.356725750607211</c:v>
                </c:pt>
                <c:pt idx="1343">
                  <c:v>97.671954937729325</c:v>
                </c:pt>
                <c:pt idx="1344">
                  <c:v>97.491085732003526</c:v>
                </c:pt>
                <c:pt idx="1345">
                  <c:v>96.951061960622198</c:v>
                </c:pt>
                <c:pt idx="1346">
                  <c:v>96.832205054002387</c:v>
                </c:pt>
                <c:pt idx="1347">
                  <c:v>97.098341170998921</c:v>
                </c:pt>
                <c:pt idx="1348">
                  <c:v>97.982016433259261</c:v>
                </c:pt>
                <c:pt idx="1349">
                  <c:v>98.542710971009257</c:v>
                </c:pt>
                <c:pt idx="1350">
                  <c:v>98.64864864864866</c:v>
                </c:pt>
                <c:pt idx="1351">
                  <c:v>98.679654798201653</c:v>
                </c:pt>
                <c:pt idx="1352">
                  <c:v>98.560797891581828</c:v>
                </c:pt>
                <c:pt idx="1353">
                  <c:v>97.901917213580688</c:v>
                </c:pt>
                <c:pt idx="1354">
                  <c:v>97.594439563846819</c:v>
                </c:pt>
                <c:pt idx="1355">
                  <c:v>97.901917213580688</c:v>
                </c:pt>
                <c:pt idx="1356">
                  <c:v>98.431605601777676</c:v>
                </c:pt>
                <c:pt idx="1357">
                  <c:v>98.201643325926312</c:v>
                </c:pt>
                <c:pt idx="1358">
                  <c:v>98.58922019533874</c:v>
                </c:pt>
                <c:pt idx="1359">
                  <c:v>98.289494082993116</c:v>
                </c:pt>
                <c:pt idx="1360">
                  <c:v>97.935507208929778</c:v>
                </c:pt>
                <c:pt idx="1361">
                  <c:v>97.638364942380235</c:v>
                </c:pt>
                <c:pt idx="1362">
                  <c:v>96.997571184951681</c:v>
                </c:pt>
                <c:pt idx="1363">
                  <c:v>98.075034881918256</c:v>
                </c:pt>
                <c:pt idx="1364">
                  <c:v>99.759702340964282</c:v>
                </c:pt>
                <c:pt idx="1365">
                  <c:v>100.65888067800115</c:v>
                </c:pt>
                <c:pt idx="1366">
                  <c:v>101.45470518319466</c:v>
                </c:pt>
                <c:pt idx="1367">
                  <c:v>100.81907911735829</c:v>
                </c:pt>
                <c:pt idx="1368">
                  <c:v>100.74156374347578</c:v>
                </c:pt>
                <c:pt idx="1369">
                  <c:v>101.27641982326494</c:v>
                </c:pt>
                <c:pt idx="1370">
                  <c:v>100.79324065939745</c:v>
                </c:pt>
                <c:pt idx="1371">
                  <c:v>100.03617384114519</c:v>
                </c:pt>
                <c:pt idx="1372">
                  <c:v>99.767453878352541</c:v>
                </c:pt>
                <c:pt idx="1373">
                  <c:v>100.08009921967857</c:v>
                </c:pt>
                <c:pt idx="1374">
                  <c:v>100.19378843470621</c:v>
                </c:pt>
                <c:pt idx="1375">
                  <c:v>100.24288150483179</c:v>
                </c:pt>
                <c:pt idx="1376">
                  <c:v>100.89401064544469</c:v>
                </c:pt>
                <c:pt idx="1377">
                  <c:v>100.8164952715622</c:v>
                </c:pt>
                <c:pt idx="1378">
                  <c:v>101.33326443077877</c:v>
                </c:pt>
                <c:pt idx="1379">
                  <c:v>101.32034520179836</c:v>
                </c:pt>
                <c:pt idx="1380">
                  <c:v>100.83458219213477</c:v>
                </c:pt>
                <c:pt idx="1381">
                  <c:v>100.7389798976797</c:v>
                </c:pt>
                <c:pt idx="1382">
                  <c:v>100.6821352901659</c:v>
                </c:pt>
                <c:pt idx="1383">
                  <c:v>101.09296677174306</c:v>
                </c:pt>
                <c:pt idx="1384">
                  <c:v>100.35915456565554</c:v>
                </c:pt>
                <c:pt idx="1385">
                  <c:v>100.06717999069816</c:v>
                </c:pt>
                <c:pt idx="1386">
                  <c:v>99.945739238282258</c:v>
                </c:pt>
                <c:pt idx="1387">
                  <c:v>99.759702340964282</c:v>
                </c:pt>
                <c:pt idx="1388">
                  <c:v>100.31006149552996</c:v>
                </c:pt>
                <c:pt idx="1389">
                  <c:v>100.51418531342048</c:v>
                </c:pt>
                <c:pt idx="1390">
                  <c:v>101.19115291199421</c:v>
                </c:pt>
                <c:pt idx="1391">
                  <c:v>101.86812051056793</c:v>
                </c:pt>
                <c:pt idx="1392">
                  <c:v>101.53997209446541</c:v>
                </c:pt>
                <c:pt idx="1393">
                  <c:v>101.50379825332023</c:v>
                </c:pt>
                <c:pt idx="1394">
                  <c:v>101.74667975815204</c:v>
                </c:pt>
                <c:pt idx="1395">
                  <c:v>102.32546121647461</c:v>
                </c:pt>
                <c:pt idx="1396">
                  <c:v>101.92238127228568</c:v>
                </c:pt>
                <c:pt idx="1397">
                  <c:v>102.05932509947806</c:v>
                </c:pt>
                <c:pt idx="1398">
                  <c:v>102.83189499250686</c:v>
                </c:pt>
                <c:pt idx="1399">
                  <c:v>102.07482817425458</c:v>
                </c:pt>
                <c:pt idx="1400">
                  <c:v>101.90687819750917</c:v>
                </c:pt>
                <c:pt idx="1401">
                  <c:v>103.10578264689165</c:v>
                </c:pt>
                <c:pt idx="1402">
                  <c:v>101.97664203400343</c:v>
                </c:pt>
                <c:pt idx="1403">
                  <c:v>102.68978347372229</c:v>
                </c:pt>
                <c:pt idx="1404">
                  <c:v>103.36416722649993</c:v>
                </c:pt>
                <c:pt idx="1405">
                  <c:v>104.09281174099532</c:v>
                </c:pt>
                <c:pt idx="1406">
                  <c:v>104.56307167588238</c:v>
                </c:pt>
                <c:pt idx="1407">
                  <c:v>104.59924551702755</c:v>
                </c:pt>
                <c:pt idx="1408">
                  <c:v>105.5888584569273</c:v>
                </c:pt>
                <c:pt idx="1409">
                  <c:v>105.98418686372797</c:v>
                </c:pt>
                <c:pt idx="1410">
                  <c:v>105.49325616247222</c:v>
                </c:pt>
                <c:pt idx="1411">
                  <c:v>106.59655831739963</c:v>
                </c:pt>
                <c:pt idx="1412">
                  <c:v>106.77742752312543</c:v>
                </c:pt>
                <c:pt idx="1413">
                  <c:v>106.60689370058394</c:v>
                </c:pt>
                <c:pt idx="1414">
                  <c:v>106.93762596248257</c:v>
                </c:pt>
                <c:pt idx="1415">
                  <c:v>107.44147589271873</c:v>
                </c:pt>
                <c:pt idx="1416">
                  <c:v>107.0978244018397</c:v>
                </c:pt>
                <c:pt idx="1417">
                  <c:v>106.97121595783163</c:v>
                </c:pt>
                <c:pt idx="1418">
                  <c:v>107.2786936075655</c:v>
                </c:pt>
                <c:pt idx="1419">
                  <c:v>107.3407059066715</c:v>
                </c:pt>
                <c:pt idx="1420">
                  <c:v>107.00997364477287</c:v>
                </c:pt>
                <c:pt idx="1421">
                  <c:v>106.82135290165884</c:v>
                </c:pt>
                <c:pt idx="1422">
                  <c:v>107.36396051883624</c:v>
                </c:pt>
                <c:pt idx="1423">
                  <c:v>108.00733812206087</c:v>
                </c:pt>
                <c:pt idx="1424">
                  <c:v>108.46209498217148</c:v>
                </c:pt>
                <c:pt idx="1425">
                  <c:v>108.34840576714382</c:v>
                </c:pt>
                <c:pt idx="1426">
                  <c:v>108.42333729523024</c:v>
                </c:pt>
                <c:pt idx="1427">
                  <c:v>107.67918970595835</c:v>
                </c:pt>
                <c:pt idx="1428">
                  <c:v>107.34328975246758</c:v>
                </c:pt>
                <c:pt idx="1429">
                  <c:v>105.72321843832361</c:v>
                </c:pt>
                <c:pt idx="1430">
                  <c:v>106.35109296677174</c:v>
                </c:pt>
                <c:pt idx="1431">
                  <c:v>106.52421063510931</c:v>
                </c:pt>
                <c:pt idx="1432">
                  <c:v>107.75928892563694</c:v>
                </c:pt>
                <c:pt idx="1433">
                  <c:v>108.22179732313575</c:v>
                </c:pt>
                <c:pt idx="1434">
                  <c:v>108.03059273422564</c:v>
                </c:pt>
                <c:pt idx="1435">
                  <c:v>106.33300604619916</c:v>
                </c:pt>
                <c:pt idx="1436">
                  <c:v>106.4802852565759</c:v>
                </c:pt>
                <c:pt idx="1437">
                  <c:v>105.92475841041806</c:v>
                </c:pt>
                <c:pt idx="1438">
                  <c:v>105.07984083509896</c:v>
                </c:pt>
                <c:pt idx="1439">
                  <c:v>105.73355382150793</c:v>
                </c:pt>
                <c:pt idx="1440">
                  <c:v>106.53196217249756</c:v>
                </c:pt>
                <c:pt idx="1441">
                  <c:v>107.8833135238489</c:v>
                </c:pt>
                <c:pt idx="1442">
                  <c:v>108.6119580383443</c:v>
                </c:pt>
                <c:pt idx="1443">
                  <c:v>109.1674848845021</c:v>
                </c:pt>
                <c:pt idx="1444">
                  <c:v>108.93752260865072</c:v>
                </c:pt>
                <c:pt idx="1445">
                  <c:v>109.12872719756086</c:v>
                </c:pt>
                <c:pt idx="1446">
                  <c:v>109.00728644514497</c:v>
                </c:pt>
                <c:pt idx="1447">
                  <c:v>108.27347423905742</c:v>
                </c:pt>
                <c:pt idx="1448">
                  <c:v>109.45429176786729</c:v>
                </c:pt>
                <c:pt idx="1449">
                  <c:v>110.02015399720946</c:v>
                </c:pt>
                <c:pt idx="1450">
                  <c:v>110.48524624050438</c:v>
                </c:pt>
                <c:pt idx="1451">
                  <c:v>111.03560539507002</c:v>
                </c:pt>
                <c:pt idx="1452">
                  <c:v>111.20097152601933</c:v>
                </c:pt>
                <c:pt idx="1453">
                  <c:v>111.30949304945482</c:v>
                </c:pt>
                <c:pt idx="1454">
                  <c:v>112.3533667510723</c:v>
                </c:pt>
                <c:pt idx="1455">
                  <c:v>112.41279520438221</c:v>
                </c:pt>
                <c:pt idx="1456">
                  <c:v>113.07425972817944</c:v>
                </c:pt>
                <c:pt idx="1457">
                  <c:v>114.53413260296625</c:v>
                </c:pt>
                <c:pt idx="1458">
                  <c:v>113.85716500439254</c:v>
                </c:pt>
                <c:pt idx="1459">
                  <c:v>114.89845486021395</c:v>
                </c:pt>
                <c:pt idx="1460">
                  <c:v>115.2085163557439</c:v>
                </c:pt>
                <c:pt idx="1461">
                  <c:v>115.22918712211253</c:v>
                </c:pt>
                <c:pt idx="1462">
                  <c:v>114.65815720117824</c:v>
                </c:pt>
                <c:pt idx="1463">
                  <c:v>112.87530360188104</c:v>
                </c:pt>
                <c:pt idx="1464">
                  <c:v>112.60916748488449</c:v>
                </c:pt>
                <c:pt idx="1465">
                  <c:v>112.26293214820942</c:v>
                </c:pt>
                <c:pt idx="1466">
                  <c:v>113.58844504159993</c:v>
                </c:pt>
                <c:pt idx="1467">
                  <c:v>112.07947909668752</c:v>
                </c:pt>
                <c:pt idx="1468">
                  <c:v>111.4619399514237</c:v>
                </c:pt>
                <c:pt idx="1469">
                  <c:v>110.80822696501474</c:v>
                </c:pt>
                <c:pt idx="1470">
                  <c:v>110.26045165624517</c:v>
                </c:pt>
                <c:pt idx="1471">
                  <c:v>109.9994832308408</c:v>
                </c:pt>
                <c:pt idx="1472">
                  <c:v>108.22954886052401</c:v>
                </c:pt>
                <c:pt idx="1473">
                  <c:v>107.58358741150329</c:v>
                </c:pt>
                <c:pt idx="1474">
                  <c:v>108.46726267376363</c:v>
                </c:pt>
                <c:pt idx="1475">
                  <c:v>108.92460337967032</c:v>
                </c:pt>
                <c:pt idx="1476">
                  <c:v>107.57066818252288</c:v>
                </c:pt>
                <c:pt idx="1477">
                  <c:v>106.7205829156116</c:v>
                </c:pt>
                <c:pt idx="1478">
                  <c:v>107.40788589736965</c:v>
                </c:pt>
                <c:pt idx="1479">
                  <c:v>107.10815978502404</c:v>
                </c:pt>
                <c:pt idx="1480">
                  <c:v>108.02800888842954</c:v>
                </c:pt>
                <c:pt idx="1481">
                  <c:v>108.08226965014728</c:v>
                </c:pt>
                <c:pt idx="1482">
                  <c:v>107.45697896749522</c:v>
                </c:pt>
                <c:pt idx="1483">
                  <c:v>105.5242623120252</c:v>
                </c:pt>
                <c:pt idx="1484">
                  <c:v>105.63019998966463</c:v>
                </c:pt>
                <c:pt idx="1485">
                  <c:v>104.44938246085474</c:v>
                </c:pt>
                <c:pt idx="1486">
                  <c:v>105.42866001757014</c:v>
                </c:pt>
                <c:pt idx="1487">
                  <c:v>107.01772518216113</c:v>
                </c:pt>
                <c:pt idx="1488">
                  <c:v>107.8368042995194</c:v>
                </c:pt>
                <c:pt idx="1489">
                  <c:v>107.74378585086042</c:v>
                </c:pt>
                <c:pt idx="1490">
                  <c:v>108.26313885587308</c:v>
                </c:pt>
                <c:pt idx="1491">
                  <c:v>108.31739961759081</c:v>
                </c:pt>
                <c:pt idx="1492">
                  <c:v>108.49826882331664</c:v>
                </c:pt>
                <c:pt idx="1493">
                  <c:v>109.59898713244796</c:v>
                </c:pt>
                <c:pt idx="1494">
                  <c:v>110.33279933853548</c:v>
                </c:pt>
                <c:pt idx="1495">
                  <c:v>110.69453774998709</c:v>
                </c:pt>
                <c:pt idx="1496">
                  <c:v>112.21642292387992</c:v>
                </c:pt>
                <c:pt idx="1497">
                  <c:v>111.96320603586378</c:v>
                </c:pt>
                <c:pt idx="1498">
                  <c:v>112.16474600795824</c:v>
                </c:pt>
                <c:pt idx="1499">
                  <c:v>112.16991369955042</c:v>
                </c:pt>
                <c:pt idx="1500">
                  <c:v>112.40762751279006</c:v>
                </c:pt>
                <c:pt idx="1501">
                  <c:v>111.63247377396519</c:v>
                </c:pt>
                <c:pt idx="1502">
                  <c:v>112.21383907808382</c:v>
                </c:pt>
                <c:pt idx="1503">
                  <c:v>112.79778822799855</c:v>
                </c:pt>
                <c:pt idx="1504">
                  <c:v>112.5523228773707</c:v>
                </c:pt>
                <c:pt idx="1505">
                  <c:v>112.63242209704927</c:v>
                </c:pt>
                <c:pt idx="1506">
                  <c:v>112.38695674642136</c:v>
                </c:pt>
                <c:pt idx="1507">
                  <c:v>112.14407524158958</c:v>
                </c:pt>
                <c:pt idx="1508">
                  <c:v>112.07947909668752</c:v>
                </c:pt>
                <c:pt idx="1509">
                  <c:v>111.71257299364375</c:v>
                </c:pt>
                <c:pt idx="1510">
                  <c:v>111.24231305875665</c:v>
                </c:pt>
                <c:pt idx="1511">
                  <c:v>111.43610149346286</c:v>
                </c:pt>
                <c:pt idx="1512">
                  <c:v>110.98392847914835</c:v>
                </c:pt>
                <c:pt idx="1513">
                  <c:v>112.63500594284534</c:v>
                </c:pt>
                <c:pt idx="1514">
                  <c:v>112.93989974678311</c:v>
                </c:pt>
                <c:pt idx="1515">
                  <c:v>113.07425972817944</c:v>
                </c:pt>
                <c:pt idx="1516">
                  <c:v>112.35853444266448</c:v>
                </c:pt>
                <c:pt idx="1517">
                  <c:v>111.64022531135342</c:v>
                </c:pt>
                <c:pt idx="1518">
                  <c:v>111.70998914784766</c:v>
                </c:pt>
                <c:pt idx="1519">
                  <c:v>111.94253526949511</c:v>
                </c:pt>
                <c:pt idx="1520">
                  <c:v>112.22934215286034</c:v>
                </c:pt>
                <c:pt idx="1521">
                  <c:v>112.95281897576352</c:v>
                </c:pt>
                <c:pt idx="1522">
                  <c:v>112.7771174616299</c:v>
                </c:pt>
                <c:pt idx="1523">
                  <c:v>111.51620071314143</c:v>
                </c:pt>
                <c:pt idx="1524">
                  <c:v>110.9038292594698</c:v>
                </c:pt>
                <c:pt idx="1525">
                  <c:v>110.26303550204123</c:v>
                </c:pt>
                <c:pt idx="1526">
                  <c:v>109.53180714174979</c:v>
                </c:pt>
                <c:pt idx="1527">
                  <c:v>109.17782026768643</c:v>
                </c:pt>
                <c:pt idx="1528">
                  <c:v>110.00981861402512</c:v>
                </c:pt>
                <c:pt idx="1529">
                  <c:v>110.34313472171982</c:v>
                </c:pt>
                <c:pt idx="1530">
                  <c:v>110.29145780579816</c:v>
                </c:pt>
                <c:pt idx="1531">
                  <c:v>108.69722494961502</c:v>
                </c:pt>
                <c:pt idx="1532">
                  <c:v>108.75148571133275</c:v>
                </c:pt>
                <c:pt idx="1533">
                  <c:v>109.80569479613457</c:v>
                </c:pt>
                <c:pt idx="1534">
                  <c:v>109.51372022117721</c:v>
                </c:pt>
                <c:pt idx="1535">
                  <c:v>110.18035243656658</c:v>
                </c:pt>
                <c:pt idx="1536">
                  <c:v>110.8444008061599</c:v>
                </c:pt>
                <c:pt idx="1537">
                  <c:v>111.25523228773706</c:v>
                </c:pt>
                <c:pt idx="1538">
                  <c:v>112.02263448917368</c:v>
                </c:pt>
                <c:pt idx="1539">
                  <c:v>112.05880833031885</c:v>
                </c:pt>
                <c:pt idx="1540">
                  <c:v>112.28618676037414</c:v>
                </c:pt>
                <c:pt idx="1541">
                  <c:v>113.18278125161491</c:v>
                </c:pt>
                <c:pt idx="1542">
                  <c:v>113.36106661154463</c:v>
                </c:pt>
                <c:pt idx="1543">
                  <c:v>113.12593664410109</c:v>
                </c:pt>
                <c:pt idx="1544">
                  <c:v>113.59361273319209</c:v>
                </c:pt>
                <c:pt idx="1545">
                  <c:v>113.76673040152964</c:v>
                </c:pt>
                <c:pt idx="1546">
                  <c:v>113.82615885483953</c:v>
                </c:pt>
                <c:pt idx="1547">
                  <c:v>114.8467779442923</c:v>
                </c:pt>
                <c:pt idx="1548">
                  <c:v>114.08712728024393</c:v>
                </c:pt>
                <c:pt idx="1549">
                  <c:v>113.67629579866674</c:v>
                </c:pt>
                <c:pt idx="1550">
                  <c:v>113.44633352281537</c:v>
                </c:pt>
                <c:pt idx="1551">
                  <c:v>113.29647046664255</c:v>
                </c:pt>
                <c:pt idx="1552">
                  <c:v>113.04066973283035</c:v>
                </c:pt>
                <c:pt idx="1553">
                  <c:v>113.54193581727043</c:v>
                </c:pt>
                <c:pt idx="1554">
                  <c:v>112.93731590098703</c:v>
                </c:pt>
                <c:pt idx="1555">
                  <c:v>112.13632370420135</c:v>
                </c:pt>
                <c:pt idx="1556">
                  <c:v>112.93989974678311</c:v>
                </c:pt>
                <c:pt idx="1557">
                  <c:v>112.219006769676</c:v>
                </c:pt>
                <c:pt idx="1558">
                  <c:v>111.37925688594905</c:v>
                </c:pt>
                <c:pt idx="1559">
                  <c:v>111.9296160405147</c:v>
                </c:pt>
                <c:pt idx="1560">
                  <c:v>111.31724458684306</c:v>
                </c:pt>
                <c:pt idx="1561">
                  <c:v>110.20360704873133</c:v>
                </c:pt>
                <c:pt idx="1562">
                  <c:v>110.63510929667719</c:v>
                </c:pt>
                <c:pt idx="1563">
                  <c:v>112.45672058291562</c:v>
                </c:pt>
                <c:pt idx="1564">
                  <c:v>112.96832205054001</c:v>
                </c:pt>
                <c:pt idx="1565">
                  <c:v>113.15694279365407</c:v>
                </c:pt>
                <c:pt idx="1566">
                  <c:v>113.53935197147436</c:v>
                </c:pt>
                <c:pt idx="1567">
                  <c:v>114.48762337863675</c:v>
                </c:pt>
                <c:pt idx="1568">
                  <c:v>114.2421580280089</c:v>
                </c:pt>
                <c:pt idx="1569">
                  <c:v>114.81060410314711</c:v>
                </c:pt>
                <c:pt idx="1570">
                  <c:v>115.10257867810449</c:v>
                </c:pt>
                <c:pt idx="1571">
                  <c:v>115.06123714536717</c:v>
                </c:pt>
                <c:pt idx="1572">
                  <c:v>114.35584724303654</c:v>
                </c:pt>
                <c:pt idx="1573">
                  <c:v>114.62456720582917</c:v>
                </c:pt>
                <c:pt idx="1574">
                  <c:v>114.6633248927704</c:v>
                </c:pt>
                <c:pt idx="1575">
                  <c:v>114.90103870601003</c:v>
                </c:pt>
                <c:pt idx="1576">
                  <c:v>115.30928634179112</c:v>
                </c:pt>
                <c:pt idx="1577">
                  <c:v>115.15942328561832</c:v>
                </c:pt>
                <c:pt idx="1578">
                  <c:v>116.01984393571392</c:v>
                </c:pt>
                <c:pt idx="1579">
                  <c:v>116.53402924913441</c:v>
                </c:pt>
                <c:pt idx="1580">
                  <c:v>116.75882383339362</c:v>
                </c:pt>
                <c:pt idx="1581">
                  <c:v>116.76657537078188</c:v>
                </c:pt>
                <c:pt idx="1582">
                  <c:v>116.98361841765283</c:v>
                </c:pt>
                <c:pt idx="1583">
                  <c:v>116.87251304842128</c:v>
                </c:pt>
                <c:pt idx="1584">
                  <c:v>117.68125678259523</c:v>
                </c:pt>
                <c:pt idx="1585">
                  <c:v>117.52364218903415</c:v>
                </c:pt>
                <c:pt idx="1586">
                  <c:v>117.12314609064131</c:v>
                </c:pt>
                <c:pt idx="1587">
                  <c:v>117.61924448348921</c:v>
                </c:pt>
                <c:pt idx="1588">
                  <c:v>117.99906981551342</c:v>
                </c:pt>
                <c:pt idx="1589">
                  <c:v>118.49000051676917</c:v>
                </c:pt>
                <c:pt idx="1590">
                  <c:v>118.17993902123922</c:v>
                </c:pt>
                <c:pt idx="1591">
                  <c:v>117.72001446953647</c:v>
                </c:pt>
                <c:pt idx="1592">
                  <c:v>117.88279675468969</c:v>
                </c:pt>
                <c:pt idx="1593">
                  <c:v>118.24711901193736</c:v>
                </c:pt>
                <c:pt idx="1594">
                  <c:v>118.19285825021963</c:v>
                </c:pt>
                <c:pt idx="1595">
                  <c:v>118.41506898868278</c:v>
                </c:pt>
                <c:pt idx="1596">
                  <c:v>117.82336830137979</c:v>
                </c:pt>
                <c:pt idx="1597">
                  <c:v>117.91897059583485</c:v>
                </c:pt>
                <c:pt idx="1598">
                  <c:v>118.02232442767814</c:v>
                </c:pt>
                <c:pt idx="1599">
                  <c:v>117.85437445093277</c:v>
                </c:pt>
                <c:pt idx="1600">
                  <c:v>117.84145522195234</c:v>
                </c:pt>
                <c:pt idx="1601">
                  <c:v>116.99653764663324</c:v>
                </c:pt>
                <c:pt idx="1602">
                  <c:v>116.62446385199732</c:v>
                </c:pt>
                <c:pt idx="1603">
                  <c:v>115.34804402873237</c:v>
                </c:pt>
                <c:pt idx="1604">
                  <c:v>116.09477546380033</c:v>
                </c:pt>
                <c:pt idx="1605">
                  <c:v>116.18262622086715</c:v>
                </c:pt>
                <c:pt idx="1606">
                  <c:v>115.5108263138856</c:v>
                </c:pt>
                <c:pt idx="1607">
                  <c:v>114.38168570099738</c:v>
                </c:pt>
                <c:pt idx="1608">
                  <c:v>113.85458115859646</c:v>
                </c:pt>
                <c:pt idx="1609">
                  <c:v>113.95793499043978</c:v>
                </c:pt>
                <c:pt idx="1610">
                  <c:v>114.49020722443287</c:v>
                </c:pt>
                <c:pt idx="1611">
                  <c:v>114.30158648131881</c:v>
                </c:pt>
                <c:pt idx="1612">
                  <c:v>115.52891323445817</c:v>
                </c:pt>
                <c:pt idx="1613">
                  <c:v>116.68130845951114</c:v>
                </c:pt>
                <c:pt idx="1614">
                  <c:v>117.24458684305721</c:v>
                </c:pt>
                <c:pt idx="1615">
                  <c:v>117.70451139475998</c:v>
                </c:pt>
                <c:pt idx="1616">
                  <c:v>118.19802594181179</c:v>
                </c:pt>
                <c:pt idx="1617">
                  <c:v>118.34272130639243</c:v>
                </c:pt>
                <c:pt idx="1618">
                  <c:v>118.20060978760787</c:v>
                </c:pt>
                <c:pt idx="1619">
                  <c:v>118.83881969924035</c:v>
                </c:pt>
                <c:pt idx="1620">
                  <c:v>118.7871427833187</c:v>
                </c:pt>
                <c:pt idx="1621">
                  <c:v>119.27290579298229</c:v>
                </c:pt>
                <c:pt idx="1622">
                  <c:v>118.66570203090281</c:v>
                </c:pt>
                <c:pt idx="1623">
                  <c:v>119.41760115756293</c:v>
                </c:pt>
                <c:pt idx="1624">
                  <c:v>119.69924034933595</c:v>
                </c:pt>
                <c:pt idx="1625">
                  <c:v>119.55454498475531</c:v>
                </c:pt>
                <c:pt idx="1626">
                  <c:v>119.45894269030023</c:v>
                </c:pt>
                <c:pt idx="1627">
                  <c:v>118.98093121802491</c:v>
                </c:pt>
                <c:pt idx="1628">
                  <c:v>119.08428504986823</c:v>
                </c:pt>
                <c:pt idx="1629">
                  <c:v>120.48989716293732</c:v>
                </c:pt>
                <c:pt idx="1630">
                  <c:v>120.36845641052143</c:v>
                </c:pt>
                <c:pt idx="1631">
                  <c:v>120.62167329853754</c:v>
                </c:pt>
                <c:pt idx="1632">
                  <c:v>120.53899023306289</c:v>
                </c:pt>
                <c:pt idx="1633">
                  <c:v>120.87230634075759</c:v>
                </c:pt>
                <c:pt idx="1634">
                  <c:v>120.87489018655366</c:v>
                </c:pt>
                <c:pt idx="1635">
                  <c:v>119.06361428349956</c:v>
                </c:pt>
                <c:pt idx="1636">
                  <c:v>116.72006614645238</c:v>
                </c:pt>
                <c:pt idx="1637">
                  <c:v>115.80796858043512</c:v>
                </c:pt>
                <c:pt idx="1638">
                  <c:v>116.35316004340861</c:v>
                </c:pt>
                <c:pt idx="1639">
                  <c:v>116.04309854787867</c:v>
                </c:pt>
                <c:pt idx="1640">
                  <c:v>116.93969303911942</c:v>
                </c:pt>
                <c:pt idx="1641">
                  <c:v>116.98103457185675</c:v>
                </c:pt>
                <c:pt idx="1642">
                  <c:v>114.78993333677847</c:v>
                </c:pt>
                <c:pt idx="1643">
                  <c:v>114.61423182264483</c:v>
                </c:pt>
                <c:pt idx="1644">
                  <c:v>114.65815720117824</c:v>
                </c:pt>
                <c:pt idx="1645">
                  <c:v>115.58834168776808</c:v>
                </c:pt>
                <c:pt idx="1646">
                  <c:v>116.82083613249962</c:v>
                </c:pt>
                <c:pt idx="1647">
                  <c:v>116.95519611389594</c:v>
                </c:pt>
                <c:pt idx="1648">
                  <c:v>117.97323135755258</c:v>
                </c:pt>
                <c:pt idx="1649">
                  <c:v>119.0274404423544</c:v>
                </c:pt>
                <c:pt idx="1650">
                  <c:v>118.71996279262056</c:v>
                </c:pt>
                <c:pt idx="1651">
                  <c:v>119.03777582553874</c:v>
                </c:pt>
                <c:pt idx="1652">
                  <c:v>119.17471965273114</c:v>
                </c:pt>
                <c:pt idx="1653">
                  <c:v>119.2703219471862</c:v>
                </c:pt>
                <c:pt idx="1654">
                  <c:v>118.89049661516202</c:v>
                </c:pt>
                <c:pt idx="1655">
                  <c:v>119.2703219471862</c:v>
                </c:pt>
                <c:pt idx="1656">
                  <c:v>119.31424732571961</c:v>
                </c:pt>
                <c:pt idx="1657">
                  <c:v>120.09715260193272</c:v>
                </c:pt>
                <c:pt idx="1658">
                  <c:v>120.15916490103871</c:v>
                </c:pt>
                <c:pt idx="1659">
                  <c:v>120.40204640587051</c:v>
                </c:pt>
                <c:pt idx="1660">
                  <c:v>120.53640638726681</c:v>
                </c:pt>
                <c:pt idx="1661">
                  <c:v>119.93437031677952</c:v>
                </c:pt>
                <c:pt idx="1662">
                  <c:v>118.80781354968737</c:v>
                </c:pt>
                <c:pt idx="1663">
                  <c:v>120.68885328923568</c:v>
                </c:pt>
                <c:pt idx="1664">
                  <c:v>120.85163557438894</c:v>
                </c:pt>
                <c:pt idx="1665">
                  <c:v>120.51573562089814</c:v>
                </c:pt>
                <c:pt idx="1666">
                  <c:v>119.99638261588549</c:v>
                </c:pt>
                <c:pt idx="1667">
                  <c:v>119.50803576042581</c:v>
                </c:pt>
                <c:pt idx="1668">
                  <c:v>119.3452534752726</c:v>
                </c:pt>
                <c:pt idx="1669">
                  <c:v>118.55201281587514</c:v>
                </c:pt>
                <c:pt idx="1670">
                  <c:v>117.40995297400652</c:v>
                </c:pt>
                <c:pt idx="1671">
                  <c:v>116.63221538938558</c:v>
                </c:pt>
                <c:pt idx="1672">
                  <c:v>117.53139372642241</c:v>
                </c:pt>
                <c:pt idx="1673">
                  <c:v>118.48224897938091</c:v>
                </c:pt>
                <c:pt idx="1674">
                  <c:v>117.99390212392125</c:v>
                </c:pt>
                <c:pt idx="1675">
                  <c:v>118.74838509637743</c:v>
                </c:pt>
                <c:pt idx="1676">
                  <c:v>118.67862125988322</c:v>
                </c:pt>
                <c:pt idx="1677">
                  <c:v>118.15926825487055</c:v>
                </c:pt>
                <c:pt idx="1678">
                  <c:v>118.91116738153067</c:v>
                </c:pt>
                <c:pt idx="1679">
                  <c:v>118.80522970389129</c:v>
                </c:pt>
                <c:pt idx="1680">
                  <c:v>119.21606118546846</c:v>
                </c:pt>
                <c:pt idx="1681">
                  <c:v>119.72249496150071</c:v>
                </c:pt>
                <c:pt idx="1682">
                  <c:v>120.34003410676452</c:v>
                </c:pt>
                <c:pt idx="1683">
                  <c:v>120.93948633145575</c:v>
                </c:pt>
                <c:pt idx="1684">
                  <c:v>121.44075241589583</c:v>
                </c:pt>
                <c:pt idx="1685">
                  <c:v>121.73272699085318</c:v>
                </c:pt>
                <c:pt idx="1686">
                  <c:v>121.35806935042118</c:v>
                </c:pt>
                <c:pt idx="1687">
                  <c:v>119.71474342411246</c:v>
                </c:pt>
                <c:pt idx="1688">
                  <c:v>119.52353883520233</c:v>
                </c:pt>
                <c:pt idx="1689">
                  <c:v>120.0713141439719</c:v>
                </c:pt>
                <c:pt idx="1690">
                  <c:v>118.28070900728645</c:v>
                </c:pt>
                <c:pt idx="1691">
                  <c:v>116.95002842230376</c:v>
                </c:pt>
                <c:pt idx="1692">
                  <c:v>117.93188982481526</c:v>
                </c:pt>
                <c:pt idx="1693">
                  <c:v>118.01457289028991</c:v>
                </c:pt>
                <c:pt idx="1694">
                  <c:v>119.50803576042581</c:v>
                </c:pt>
                <c:pt idx="1695">
                  <c:v>119.65531497080255</c:v>
                </c:pt>
                <c:pt idx="1696">
                  <c:v>120.88005787814583</c:v>
                </c:pt>
                <c:pt idx="1697">
                  <c:v>120.44338793860783</c:v>
                </c:pt>
                <c:pt idx="1698">
                  <c:v>120.66043098547881</c:v>
                </c:pt>
                <c:pt idx="1699">
                  <c:v>119.78967495219885</c:v>
                </c:pt>
                <c:pt idx="1700">
                  <c:v>119.83876802232443</c:v>
                </c:pt>
                <c:pt idx="1701">
                  <c:v>120.7637848173221</c:v>
                </c:pt>
                <c:pt idx="1702">
                  <c:v>120.73794635936127</c:v>
                </c:pt>
                <c:pt idx="1703">
                  <c:v>120.95757325202831</c:v>
                </c:pt>
                <c:pt idx="1704">
                  <c:v>120.88264172394192</c:v>
                </c:pt>
                <c:pt idx="1705">
                  <c:v>120.85938711177717</c:v>
                </c:pt>
                <c:pt idx="1706">
                  <c:v>119.98346338690509</c:v>
                </c:pt>
                <c:pt idx="1707">
                  <c:v>120.08940106454446</c:v>
                </c:pt>
                <c:pt idx="1708">
                  <c:v>120.86197095757325</c:v>
                </c:pt>
                <c:pt idx="1709">
                  <c:v>121.54669009353523</c:v>
                </c:pt>
                <c:pt idx="1710">
                  <c:v>122.39677536044648</c:v>
                </c:pt>
                <c:pt idx="1711">
                  <c:v>123.08666218800062</c:v>
                </c:pt>
                <c:pt idx="1712">
                  <c:v>122.89804144488656</c:v>
                </c:pt>
                <c:pt idx="1713">
                  <c:v>121.92909927135548</c:v>
                </c:pt>
                <c:pt idx="1714">
                  <c:v>122.09704924810087</c:v>
                </c:pt>
                <c:pt idx="1715">
                  <c:v>122.11772001446954</c:v>
                </c:pt>
                <c:pt idx="1716">
                  <c:v>121.81541005632783</c:v>
                </c:pt>
                <c:pt idx="1717">
                  <c:v>122.72233993075294</c:v>
                </c:pt>
                <c:pt idx="1718">
                  <c:v>123.26494754793033</c:v>
                </c:pt>
                <c:pt idx="1719">
                  <c:v>123.908325151155</c:v>
                </c:pt>
                <c:pt idx="1720">
                  <c:v>124.13828742700636</c:v>
                </c:pt>
                <c:pt idx="1721">
                  <c:v>124.80750348819183</c:v>
                </c:pt>
                <c:pt idx="1722">
                  <c:v>124.90052193685082</c:v>
                </c:pt>
                <c:pt idx="1723">
                  <c:v>125.25967650250634</c:v>
                </c:pt>
                <c:pt idx="1724">
                  <c:v>125.1279003669061</c:v>
                </c:pt>
                <c:pt idx="1725">
                  <c:v>125.67825952147176</c:v>
                </c:pt>
                <c:pt idx="1726">
                  <c:v>125.45604878300864</c:v>
                </c:pt>
                <c:pt idx="1727">
                  <c:v>125.61107953077359</c:v>
                </c:pt>
                <c:pt idx="1728">
                  <c:v>126.24153790501782</c:v>
                </c:pt>
                <c:pt idx="1729">
                  <c:v>126.69112707353625</c:v>
                </c:pt>
                <c:pt idx="1730">
                  <c:v>127.22339930752933</c:v>
                </c:pt>
                <c:pt idx="1731">
                  <c:v>127.61872771433002</c:v>
                </c:pt>
                <c:pt idx="1732">
                  <c:v>127.45077773758462</c:v>
                </c:pt>
                <c:pt idx="1733">
                  <c:v>126.8823316624464</c:v>
                </c:pt>
                <c:pt idx="1734">
                  <c:v>127.18980931218024</c:v>
                </c:pt>
                <c:pt idx="1735">
                  <c:v>126.77122629321482</c:v>
                </c:pt>
                <c:pt idx="1736">
                  <c:v>127.13296470466642</c:v>
                </c:pt>
                <c:pt idx="1737">
                  <c:v>127.53346080305927</c:v>
                </c:pt>
                <c:pt idx="1738">
                  <c:v>127.79959692005582</c:v>
                </c:pt>
                <c:pt idx="1739">
                  <c:v>128.23109916800166</c:v>
                </c:pt>
                <c:pt idx="1740">
                  <c:v>127.97271458839336</c:v>
                </c:pt>
                <c:pt idx="1741">
                  <c:v>127.32158544778048</c:v>
                </c:pt>
                <c:pt idx="1742">
                  <c:v>126.98826934008581</c:v>
                </c:pt>
                <c:pt idx="1743">
                  <c:v>127.37584620949822</c:v>
                </c:pt>
                <c:pt idx="1744">
                  <c:v>127.14588393364686</c:v>
                </c:pt>
                <c:pt idx="1745">
                  <c:v>126.86166089607774</c:v>
                </c:pt>
                <c:pt idx="1746">
                  <c:v>127.82026768642447</c:v>
                </c:pt>
                <c:pt idx="1747">
                  <c:v>128.20784455583691</c:v>
                </c:pt>
                <c:pt idx="1748">
                  <c:v>129.14578057981501</c:v>
                </c:pt>
                <c:pt idx="1749">
                  <c:v>129.30339517337606</c:v>
                </c:pt>
                <c:pt idx="1750">
                  <c:v>128.59283757945326</c:v>
                </c:pt>
                <c:pt idx="1751">
                  <c:v>127.47661619554546</c:v>
                </c:pt>
                <c:pt idx="1752">
                  <c:v>127.52312541987496</c:v>
                </c:pt>
                <c:pt idx="1753">
                  <c:v>127.04769779339568</c:v>
                </c:pt>
                <c:pt idx="1754">
                  <c:v>127.18205777479201</c:v>
                </c:pt>
                <c:pt idx="1755">
                  <c:v>127.72983308356159</c:v>
                </c:pt>
                <c:pt idx="1756">
                  <c:v>127.86419306495789</c:v>
                </c:pt>
                <c:pt idx="1757">
                  <c:v>128.94424060772053</c:v>
                </c:pt>
                <c:pt idx="1758">
                  <c:v>127.93395690145213</c:v>
                </c:pt>
                <c:pt idx="1759">
                  <c:v>128.63417911219059</c:v>
                </c:pt>
                <c:pt idx="1760">
                  <c:v>128.23885070538992</c:v>
                </c:pt>
                <c:pt idx="1761">
                  <c:v>129.53594129502349</c:v>
                </c:pt>
                <c:pt idx="1762">
                  <c:v>129.83566740736913</c:v>
                </c:pt>
                <c:pt idx="1763">
                  <c:v>129.93902123921245</c:v>
                </c:pt>
                <c:pt idx="1764">
                  <c:v>129.71422665495322</c:v>
                </c:pt>
                <c:pt idx="1765">
                  <c:v>129.65479820164333</c:v>
                </c:pt>
                <c:pt idx="1766">
                  <c:v>129.64963051005117</c:v>
                </c:pt>
                <c:pt idx="1767">
                  <c:v>129.66771743062372</c:v>
                </c:pt>
                <c:pt idx="1768">
                  <c:v>127.76342307891066</c:v>
                </c:pt>
                <c:pt idx="1769">
                  <c:v>126.66528861557545</c:v>
                </c:pt>
                <c:pt idx="1770">
                  <c:v>127.0451139475996</c:v>
                </c:pt>
                <c:pt idx="1771">
                  <c:v>126.62911477443026</c:v>
                </c:pt>
                <c:pt idx="1772">
                  <c:v>126.37589788641415</c:v>
                </c:pt>
                <c:pt idx="1773">
                  <c:v>125.8229548860524</c:v>
                </c:pt>
                <c:pt idx="1774">
                  <c:v>125.59299261020102</c:v>
                </c:pt>
                <c:pt idx="1775">
                  <c:v>126.7298847604775</c:v>
                </c:pt>
                <c:pt idx="1776">
                  <c:v>126.87199627926205</c:v>
                </c:pt>
                <c:pt idx="1777">
                  <c:v>127.38618159268256</c:v>
                </c:pt>
                <c:pt idx="1778">
                  <c:v>127.9365407472482</c:v>
                </c:pt>
                <c:pt idx="1779">
                  <c:v>127.81251614903624</c:v>
                </c:pt>
                <c:pt idx="1780">
                  <c:v>128.96749521988528</c:v>
                </c:pt>
                <c:pt idx="1781">
                  <c:v>129.98036277194979</c:v>
                </c:pt>
                <c:pt idx="1782">
                  <c:v>130.35760425817787</c:v>
                </c:pt>
                <c:pt idx="1783">
                  <c:v>130.85887034261796</c:v>
                </c:pt>
                <c:pt idx="1784">
                  <c:v>130.94672109968479</c:v>
                </c:pt>
                <c:pt idx="1785">
                  <c:v>132.00093018448661</c:v>
                </c:pt>
                <c:pt idx="1786">
                  <c:v>132.24897938091055</c:v>
                </c:pt>
                <c:pt idx="1787">
                  <c:v>132.39884243708335</c:v>
                </c:pt>
                <c:pt idx="1788">
                  <c:v>132.18696708180454</c:v>
                </c:pt>
                <c:pt idx="1789">
                  <c:v>132.52803472688751</c:v>
                </c:pt>
                <c:pt idx="1790">
                  <c:v>132.86393468037829</c:v>
                </c:pt>
                <c:pt idx="1791">
                  <c:v>132.94145005426077</c:v>
                </c:pt>
                <c:pt idx="1792">
                  <c:v>133.19725078807298</c:v>
                </c:pt>
                <c:pt idx="1793">
                  <c:v>134.69588134980103</c:v>
                </c:pt>
                <c:pt idx="1794">
                  <c:v>134.91292439667203</c:v>
                </c:pt>
                <c:pt idx="1795">
                  <c:v>134.52793137305565</c:v>
                </c:pt>
                <c:pt idx="1796">
                  <c:v>134.03958451759598</c:v>
                </c:pt>
                <c:pt idx="1797">
                  <c:v>134.22045372332181</c:v>
                </c:pt>
                <c:pt idx="1798">
                  <c:v>134.06025528396466</c:v>
                </c:pt>
                <c:pt idx="1799">
                  <c:v>133.5357345873598</c:v>
                </c:pt>
                <c:pt idx="1800">
                  <c:v>133.32385923208102</c:v>
                </c:pt>
                <c:pt idx="1801">
                  <c:v>133.67267841455225</c:v>
                </c:pt>
                <c:pt idx="1802">
                  <c:v>133.70885225569739</c:v>
                </c:pt>
                <c:pt idx="1803">
                  <c:v>134.67779442922847</c:v>
                </c:pt>
                <c:pt idx="1804">
                  <c:v>135.35734587359826</c:v>
                </c:pt>
                <c:pt idx="1805">
                  <c:v>134.5046767608909</c:v>
                </c:pt>
                <c:pt idx="1806">
                  <c:v>133.30577231150843</c:v>
                </c:pt>
                <c:pt idx="1807">
                  <c:v>134.54343444783217</c:v>
                </c:pt>
                <c:pt idx="1808">
                  <c:v>133.55898919952458</c:v>
                </c:pt>
                <c:pt idx="1809">
                  <c:v>134.48142214872618</c:v>
                </c:pt>
                <c:pt idx="1810">
                  <c:v>134.13001912045891</c:v>
                </c:pt>
                <c:pt idx="1811">
                  <c:v>134.42457754121236</c:v>
                </c:pt>
              </c:numCache>
            </c:numRef>
          </c:val>
          <c:smooth val="0"/>
        </c:ser>
        <c:dLbls>
          <c:showLegendKey val="0"/>
          <c:showVal val="0"/>
          <c:showCatName val="0"/>
          <c:showSerName val="0"/>
          <c:showPercent val="0"/>
          <c:showBubbleSize val="0"/>
        </c:dLbls>
        <c:marker val="1"/>
        <c:smooth val="0"/>
        <c:axId val="43396096"/>
        <c:axId val="43447040"/>
      </c:lineChart>
      <c:dateAx>
        <c:axId val="43396096"/>
        <c:scaling>
          <c:orientation val="minMax"/>
        </c:scaling>
        <c:delete val="0"/>
        <c:axPos val="b"/>
        <c:numFmt formatCode="[$-409]mmm\-yy;@" sourceLinked="0"/>
        <c:majorTickMark val="in"/>
        <c:minorTickMark val="in"/>
        <c:tickLblPos val="nextTo"/>
        <c:spPr>
          <a:ln w="3164">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43447040"/>
        <c:crosses val="autoZero"/>
        <c:auto val="1"/>
        <c:lblOffset val="100"/>
        <c:baseTimeUnit val="days"/>
      </c:dateAx>
      <c:valAx>
        <c:axId val="43447040"/>
        <c:scaling>
          <c:orientation val="minMax"/>
        </c:scaling>
        <c:delete val="0"/>
        <c:axPos val="l"/>
        <c:majorGridlines>
          <c:spPr>
            <a:ln w="12657">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43396096"/>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de-DE" dirty="0"/>
          </a:p>
        </p:txBody>
      </p:sp>
      <p:sp>
        <p:nvSpPr>
          <p:cNvPr id="3" name="Datumsplatzhalt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9D55E9D5-6EC7-464A-ABCB-0175CC23F9D5}" type="datetimeFigureOut">
              <a:rPr lang="de-DE" smtClean="0"/>
              <a:pPr/>
              <a:t>01.12.2014</a:t>
            </a:fld>
            <a:endParaRPr lang="de-DE" dirty="0"/>
          </a:p>
        </p:txBody>
      </p:sp>
      <p:sp>
        <p:nvSpPr>
          <p:cNvPr id="4" name="Folienbildplatzhalter 3"/>
          <p:cNvSpPr>
            <a:spLocks noGrp="1" noRot="1" noChangeAspect="1"/>
          </p:cNvSpPr>
          <p:nvPr>
            <p:ph type="sldImg" idx="2"/>
          </p:nvPr>
        </p:nvSpPr>
        <p:spPr>
          <a:xfrm>
            <a:off x="987425" y="696913"/>
            <a:ext cx="5035550" cy="3486150"/>
          </a:xfrm>
          <a:prstGeom prst="rect">
            <a:avLst/>
          </a:prstGeom>
          <a:noFill/>
          <a:ln w="12700">
            <a:solidFill>
              <a:prstClr val="black"/>
            </a:solidFill>
          </a:ln>
        </p:spPr>
        <p:txBody>
          <a:bodyPr vert="horz" lIns="93177" tIns="46589" rIns="93177" bIns="46589" rtlCol="0" anchor="ctr"/>
          <a:lstStyle/>
          <a:p>
            <a:endParaRPr lang="de-DE" dirty="0"/>
          </a:p>
        </p:txBody>
      </p:sp>
      <p:sp>
        <p:nvSpPr>
          <p:cNvPr id="5" name="Notizenplatzhalt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de-DE" dirty="0"/>
          </a:p>
        </p:txBody>
      </p:sp>
      <p:sp>
        <p:nvSpPr>
          <p:cNvPr id="7" name="Foliennummernplatzhalt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C9EC3BC6-58B8-4225-A7D3-DD00ABEE6CB4}" type="slidenum">
              <a:rPr lang="de-DE" smtClean="0">
                <a:solidFill>
                  <a:prstClr val="black"/>
                </a:solidFill>
              </a:rPr>
              <a:pPr/>
              <a:t>2</a:t>
            </a:fld>
            <a:endParaRPr lang="de-DE" dirty="0" smtClean="0">
              <a:solidFill>
                <a:prstClr val="black"/>
              </a:solidFill>
            </a:endParaRPr>
          </a:p>
        </p:txBody>
      </p:sp>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FEF5084D-4BF6-4BDA-B82F-757C6AAF4053}" type="slidenum">
              <a:rPr lang="de-DE" altLang="en-US">
                <a:solidFill>
                  <a:srgbClr val="000000"/>
                </a:solidFill>
                <a:latin typeface="Calibri" pitchFamily="34" charset="0"/>
              </a:rPr>
              <a:pPr eaLnBrk="1" hangingPunct="1"/>
              <a:t>5</a:t>
            </a:fld>
            <a:endParaRPr lang="de-DE" altLang="en-US">
              <a:solidFill>
                <a:srgbClr val="000000"/>
              </a:solidFill>
              <a:latin typeface="Calibri" pitchFamily="34" charset="0"/>
            </a:endParaRPr>
          </a:p>
        </p:txBody>
      </p:sp>
      <p:sp>
        <p:nvSpPr>
          <p:cNvPr id="46083" name="Rectangle 7"/>
          <p:cNvSpPr txBox="1">
            <a:spLocks noGrp="1" noChangeArrowheads="1"/>
          </p:cNvSpPr>
          <p:nvPr/>
        </p:nvSpPr>
        <p:spPr bwMode="auto">
          <a:xfrm>
            <a:off x="3971925" y="8831263"/>
            <a:ext cx="30384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32" tIns="46617" rIns="93232" bIns="46617" anchor="b"/>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lgn="r">
              <a:spcBef>
                <a:spcPct val="0"/>
              </a:spcBef>
            </a:pPr>
            <a:fld id="{BF33E9B4-D2DD-4AAC-BBCD-9113CA2BF213}" type="slidenum">
              <a:rPr lang="en-US" altLang="en-US">
                <a:solidFill>
                  <a:srgbClr val="000000"/>
                </a:solidFill>
                <a:ea typeface="MS PGothic" pitchFamily="34" charset="-128"/>
              </a:rPr>
              <a:pPr algn="r">
                <a:spcBef>
                  <a:spcPct val="0"/>
                </a:spcBef>
              </a:pPr>
              <a:t>5</a:t>
            </a:fld>
            <a:endParaRPr lang="en-US" altLang="en-US">
              <a:solidFill>
                <a:srgbClr val="000000"/>
              </a:solidFill>
              <a:ea typeface="MS PGothic" pitchFamily="34" charset="-128"/>
            </a:endParaRPr>
          </a:p>
        </p:txBody>
      </p:sp>
      <p:sp>
        <p:nvSpPr>
          <p:cNvPr id="46084" name="Rectangle 2"/>
          <p:cNvSpPr>
            <a:spLocks noGrp="1" noRot="1" noChangeAspect="1" noChangeArrowheads="1" noTextEdit="1"/>
          </p:cNvSpPr>
          <p:nvPr>
            <p:ph type="sldImg"/>
          </p:nvPr>
        </p:nvSpPr>
        <p:spPr bwMode="auto">
          <a:xfrm>
            <a:off x="488950" y="465138"/>
            <a:ext cx="6027738" cy="41719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5" name="Rectangle 3"/>
          <p:cNvSpPr>
            <a:spLocks noGrp="1" noChangeArrowheads="1"/>
          </p:cNvSpPr>
          <p:nvPr>
            <p:ph type="body" idx="1"/>
          </p:nvPr>
        </p:nvSpPr>
        <p:spPr bwMode="auto">
          <a:xfrm>
            <a:off x="700088" y="4637088"/>
            <a:ext cx="5610225" cy="4184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CH"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nchor="b"/>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28E731E4-22C1-417B-8A0B-C14562D717C7}" type="slidenum">
              <a:rPr lang="de-DE" altLang="en-US">
                <a:solidFill>
                  <a:srgbClr val="000000"/>
                </a:solidFill>
              </a:rPr>
              <a:pPr algn="r" eaLnBrk="1" hangingPunct="1">
                <a:spcBef>
                  <a:spcPct val="0"/>
                </a:spcBef>
              </a:pPr>
              <a:t>6</a:t>
            </a:fld>
            <a:endParaRPr lang="de-DE" altLang="en-US">
              <a:solidFill>
                <a:srgbClr val="000000"/>
              </a:solidFill>
            </a:endParaRPr>
          </a:p>
        </p:txBody>
      </p:sp>
      <p:sp>
        <p:nvSpPr>
          <p:cNvPr id="4710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8" name="Notes Placeholder 2"/>
          <p:cNvSpPr>
            <a:spLocks noGrp="1"/>
          </p:cNvSpPr>
          <p:nvPr>
            <p:ph type="body" idx="1"/>
          </p:nvPr>
        </p:nvSpPr>
        <p:spPr bwMode="auto">
          <a:xfrm>
            <a:off x="935038" y="4416425"/>
            <a:ext cx="5140325" cy="4183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47109" name="Slide Number Placeholder 3"/>
          <p:cNvSpPr txBox="1">
            <a:spLocks noGrp="1"/>
          </p:cNvSpPr>
          <p:nvPr/>
        </p:nvSpPr>
        <p:spPr bwMode="auto">
          <a:xfrm>
            <a:off x="3971925" y="8831263"/>
            <a:ext cx="30384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7" tIns="46589" rIns="93177" bIns="46589" anchor="b"/>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lgn="r">
              <a:spcBef>
                <a:spcPct val="0"/>
              </a:spcBef>
            </a:pPr>
            <a:fld id="{3A15614B-6DE6-413F-9558-64FDB8432C50}" type="slidenum">
              <a:rPr lang="de-DE" altLang="en-US">
                <a:solidFill>
                  <a:srgbClr val="000000"/>
                </a:solidFill>
                <a:ea typeface="MS PGothic" pitchFamily="34" charset="-128"/>
              </a:rPr>
              <a:pPr algn="r">
                <a:spcBef>
                  <a:spcPct val="0"/>
                </a:spcBef>
              </a:pPr>
              <a:t>6</a:t>
            </a:fld>
            <a:endParaRPr lang="de-DE" altLang="en-US">
              <a:solidFill>
                <a:srgbClr val="000000"/>
              </a:solidFill>
              <a:ea typeface="MS PGothic"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002438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723472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41449152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7170110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2783045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3713774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79154895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72268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4201771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2645167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5264322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63423465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7925278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3961040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50283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79084610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154090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602150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2803909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69778317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3203710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3322621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1951176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784052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6338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26"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663" r:id="rId17"/>
    <p:sldLayoutId id="2147483667" r:id="rId18"/>
    <p:sldLayoutId id="2147483677" r:id="rId19"/>
    <p:sldLayoutId id="2147483678" r:id="rId20"/>
    <p:sldLayoutId id="2147483784" r:id="rId21"/>
    <p:sldLayoutId id="2147483785" r:id="rId22"/>
    <p:sldLayoutId id="2147483786" r:id="rId23"/>
    <p:sldLayoutId id="2147483787" r:id="rId24"/>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27"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191583655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9.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366694" y="1337346"/>
            <a:ext cx="9159894" cy="233910"/>
          </a:xfrm>
        </p:spPr>
        <p:txBody>
          <a:bodyPr/>
          <a:lstStyle/>
          <a:p>
            <a:r>
              <a:rPr lang="en-US" dirty="0" smtClean="0"/>
              <a:t>September, </a:t>
            </a:r>
            <a:r>
              <a:rPr lang="en-US" dirty="0" smtClean="0"/>
              <a:t>2014</a:t>
            </a:r>
            <a:endParaRPr lang="en-US" dirty="0"/>
          </a:p>
        </p:txBody>
      </p:sp>
      <p:sp>
        <p:nvSpPr>
          <p:cNvPr id="4" name="Title 3"/>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SELECT DIVIDEND INDEX OVERVIEW</a:t>
            </a:r>
            <a:r>
              <a:rPr lang="en-US" dirty="0"/>
              <a:t/>
            </a:r>
            <a:br>
              <a:rPr lang="en-US" dirty="0"/>
            </a:br>
            <a:endParaRPr lang="en-US" dirty="0"/>
          </a:p>
        </p:txBody>
      </p:sp>
    </p:spTree>
    <p:extLst>
      <p:ext uri="{BB962C8B-B14F-4D97-AF65-F5344CB8AC3E}">
        <p14:creationId xmlns:p14="http://schemas.microsoft.com/office/powerpoint/2010/main" val="5983486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368300" y="316116"/>
            <a:ext cx="9158288" cy="771322"/>
          </a:xfrm>
        </p:spPr>
        <p:txBody>
          <a:bodyPr/>
          <a:lstStyle/>
          <a:p>
            <a:r>
              <a:rPr lang="en-US" sz="2000" dirty="0"/>
              <a:t>The </a:t>
            </a:r>
            <a:r>
              <a:rPr lang="en-US" sz="2000" dirty="0" smtClean="0"/>
              <a:t>STOXX </a:t>
            </a:r>
            <a:r>
              <a:rPr lang="en-US" sz="2000" dirty="0"/>
              <a:t>Select Dividend index family offers investors the ideal tool to track high dividend-yielding companies.</a:t>
            </a:r>
            <a:endParaRPr lang="en-US" sz="2000" dirty="0" smtClean="0"/>
          </a:p>
        </p:txBody>
      </p:sp>
      <p:sp>
        <p:nvSpPr>
          <p:cNvPr id="10" name="Textplatzhalter 9"/>
          <p:cNvSpPr>
            <a:spLocks noGrp="1"/>
          </p:cNvSpPr>
          <p:nvPr>
            <p:ph type="body" sz="quarter" idx="13"/>
          </p:nvPr>
        </p:nvSpPr>
        <p:spPr>
          <a:xfrm>
            <a:off x="368300" y="1328837"/>
            <a:ext cx="9158288" cy="292388"/>
          </a:xfrm>
        </p:spPr>
        <p:txBody>
          <a:bodyPr/>
          <a:lstStyle/>
          <a:p>
            <a:r>
              <a:rPr lang="en-US" dirty="0" smtClean="0"/>
              <a:t>STOXX Global Select Dividend 100</a:t>
            </a:r>
            <a:endParaRPr lang="de-DE" dirty="0" smtClean="0"/>
          </a:p>
        </p:txBody>
      </p:sp>
      <p:sp>
        <p:nvSpPr>
          <p:cNvPr id="36867" name="Rectangle 3"/>
          <p:cNvSpPr>
            <a:spLocks noChangeArrowheads="1"/>
          </p:cNvSpPr>
          <p:nvPr/>
        </p:nvSpPr>
        <p:spPr bwMode="auto">
          <a:xfrm>
            <a:off x="368300" y="2217738"/>
            <a:ext cx="4357688" cy="2660728"/>
          </a:xfrm>
          <a:prstGeom prst="rect">
            <a:avLst/>
          </a:prstGeom>
          <a:noFill/>
          <a:ln w="9525">
            <a:noFill/>
            <a:miter lim="800000"/>
            <a:headEnd/>
            <a:tailEnd/>
          </a:ln>
        </p:spPr>
        <p:txBody>
          <a:bodyPr lIns="0" tIns="0" rIns="0" bIns="0">
            <a:spAutoFit/>
          </a:bodyPr>
          <a:lstStyle/>
          <a:p>
            <a:pPr marL="190500" lvl="1" indent="-188913">
              <a:lnSpc>
                <a:spcPct val="95000"/>
              </a:lnSpc>
              <a:spcBef>
                <a:spcPct val="0"/>
              </a:spcBef>
              <a:buFont typeface="Arial" charset="0"/>
              <a:buChar char="»"/>
            </a:pPr>
            <a:r>
              <a:rPr lang="en-US" sz="1400" dirty="0"/>
              <a:t>The STOXX Select Dividend indices are designed to measure the performance of the highest dividend-paying stocks relative to their home markets.</a:t>
            </a:r>
            <a:endParaRPr lang="en-US" sz="1400" dirty="0" smtClean="0">
              <a:solidFill>
                <a:prstClr val="black"/>
              </a:solidFill>
            </a:endParaRPr>
          </a:p>
          <a:p>
            <a:pPr marL="190500" lvl="1" indent="-188913">
              <a:lnSpc>
                <a:spcPct val="95000"/>
              </a:lnSpc>
              <a:spcBef>
                <a:spcPct val="0"/>
              </a:spcBef>
              <a:buFont typeface="Arial" charset="0"/>
              <a:buChar char="»"/>
            </a:pPr>
            <a:endParaRPr lang="en-US" sz="1400" dirty="0">
              <a:solidFill>
                <a:prstClr val="black"/>
              </a:solidFill>
            </a:endParaRPr>
          </a:p>
          <a:p>
            <a:pPr marL="190500" lvl="1" indent="-188913">
              <a:lnSpc>
                <a:spcPct val="95000"/>
              </a:lnSpc>
              <a:spcBef>
                <a:spcPct val="0"/>
              </a:spcBef>
              <a:buFont typeface="Arial" charset="0"/>
              <a:buChar char="»"/>
            </a:pPr>
            <a:endParaRPr lang="en-US" sz="1400" dirty="0" smtClean="0">
              <a:solidFill>
                <a:prstClr val="black"/>
              </a:solidFill>
            </a:endParaRPr>
          </a:p>
          <a:p>
            <a:pPr marL="190500" lvl="1" indent="-188913">
              <a:lnSpc>
                <a:spcPct val="95000"/>
              </a:lnSpc>
              <a:spcBef>
                <a:spcPct val="0"/>
              </a:spcBef>
              <a:buFont typeface="Arial" charset="0"/>
              <a:buChar char="»"/>
            </a:pPr>
            <a:r>
              <a:rPr lang="en-US" sz="1400" dirty="0">
                <a:solidFill>
                  <a:prstClr val="black"/>
                </a:solidFill>
              </a:rPr>
              <a:t>The index family covers </a:t>
            </a:r>
            <a:r>
              <a:rPr lang="en-US" sz="1400" dirty="0" smtClean="0">
                <a:solidFill>
                  <a:prstClr val="black"/>
                </a:solidFill>
              </a:rPr>
              <a:t>the North America, Europe, Asia/Pacific, Eurozone, EU Enlarged and Global regions. </a:t>
            </a:r>
            <a:r>
              <a:rPr lang="en-US" sz="1400" dirty="0">
                <a:solidFill>
                  <a:prstClr val="black"/>
                </a:solidFill>
              </a:rPr>
              <a:t>The Global index is a </a:t>
            </a:r>
            <a:r>
              <a:rPr lang="en-US" sz="1400" dirty="0" smtClean="0">
                <a:solidFill>
                  <a:prstClr val="black"/>
                </a:solidFill>
              </a:rPr>
              <a:t>roll-up </a:t>
            </a:r>
            <a:r>
              <a:rPr lang="en-US" sz="1400" dirty="0">
                <a:solidFill>
                  <a:prstClr val="black"/>
                </a:solidFill>
              </a:rPr>
              <a:t>of the European, North America </a:t>
            </a:r>
            <a:r>
              <a:rPr lang="en-US" sz="1400" dirty="0" smtClean="0">
                <a:solidFill>
                  <a:prstClr val="black"/>
                </a:solidFill>
              </a:rPr>
              <a:t>and Asia/Pacific indices.</a:t>
            </a:r>
          </a:p>
          <a:p>
            <a:pPr marL="647700" lvl="2" indent="-188913">
              <a:lnSpc>
                <a:spcPct val="95000"/>
              </a:lnSpc>
              <a:spcBef>
                <a:spcPct val="0"/>
              </a:spcBef>
              <a:buFont typeface="Arial" charset="0"/>
              <a:buChar char="»"/>
            </a:pPr>
            <a:r>
              <a:rPr lang="en-US" sz="1400" b="1" dirty="0" smtClean="0">
                <a:solidFill>
                  <a:srgbClr val="D80F5F"/>
                </a:solidFill>
              </a:rPr>
              <a:t>Eurozone, ASEAN, Asia/Pacific, EU Enlarged, Europe, Global, Nordic, North America</a:t>
            </a:r>
          </a:p>
          <a:p>
            <a:pPr marL="1587" lvl="1">
              <a:lnSpc>
                <a:spcPct val="95000"/>
              </a:lnSpc>
              <a:spcBef>
                <a:spcPct val="0"/>
              </a:spcBef>
            </a:pPr>
            <a:endParaRPr lang="en-US" sz="1400" dirty="0">
              <a:solidFill>
                <a:prstClr val="black"/>
              </a:solidFill>
            </a:endParaRPr>
          </a:p>
        </p:txBody>
      </p:sp>
      <p:sp>
        <p:nvSpPr>
          <p:cNvPr id="36868"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Overview</a:t>
            </a:r>
            <a:endParaRPr lang="en-US" sz="1600" b="1" dirty="0">
              <a:solidFill>
                <a:prstClr val="white"/>
              </a:solidFill>
            </a:endParaRPr>
          </a:p>
        </p:txBody>
      </p:sp>
      <p:sp>
        <p:nvSpPr>
          <p:cNvPr id="36870"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Methodology factors</a:t>
            </a:r>
            <a:endParaRPr lang="en-US" sz="1600" b="1" dirty="0">
              <a:solidFill>
                <a:prstClr val="white"/>
              </a:solidFill>
            </a:endParaRPr>
          </a:p>
        </p:txBody>
      </p:sp>
      <p:sp>
        <p:nvSpPr>
          <p:cNvPr id="8" name="Rectangle 5"/>
          <p:cNvSpPr>
            <a:spLocks noChangeArrowheads="1"/>
          </p:cNvSpPr>
          <p:nvPr/>
        </p:nvSpPr>
        <p:spPr bwMode="auto">
          <a:xfrm>
            <a:off x="5167313" y="2217738"/>
            <a:ext cx="4359275" cy="2046714"/>
          </a:xfrm>
          <a:prstGeom prst="rect">
            <a:avLst/>
          </a:prstGeom>
          <a:noFill/>
          <a:ln w="9525">
            <a:noFill/>
            <a:miter lim="800000"/>
            <a:headEnd/>
            <a:tailEnd/>
          </a:ln>
        </p:spPr>
        <p:txBody>
          <a:bodyPr wrap="square" lIns="0" tIns="0" rIns="0" bIns="0">
            <a:spAutoFit/>
          </a:bodyPr>
          <a:lstStyle/>
          <a:p>
            <a:pPr marL="190500" lvl="1" indent="-188913">
              <a:lnSpc>
                <a:spcPct val="95000"/>
              </a:lnSpc>
              <a:spcBef>
                <a:spcPct val="0"/>
              </a:spcBef>
              <a:buClr>
                <a:srgbClr val="14044E"/>
              </a:buClr>
              <a:buFont typeface="Arial" charset="0"/>
              <a:buChar char="»"/>
            </a:pPr>
            <a:r>
              <a:rPr lang="en-US" sz="1400" dirty="0">
                <a:solidFill>
                  <a:srgbClr val="000000"/>
                </a:solidFill>
              </a:rPr>
              <a:t>Stocks are screened by defined historical </a:t>
            </a:r>
            <a:r>
              <a:rPr lang="en-US" sz="1400" dirty="0" smtClean="0">
                <a:solidFill>
                  <a:srgbClr val="000000"/>
                </a:solidFill>
              </a:rPr>
              <a:t>nonnegative dividend-per-share </a:t>
            </a:r>
            <a:r>
              <a:rPr lang="en-US" sz="1400" dirty="0">
                <a:solidFill>
                  <a:srgbClr val="000000"/>
                </a:solidFill>
              </a:rPr>
              <a:t>growth rates and dividend to </a:t>
            </a:r>
            <a:r>
              <a:rPr lang="en-US" sz="1400" dirty="0" smtClean="0">
                <a:solidFill>
                  <a:srgbClr val="000000"/>
                </a:solidFill>
              </a:rPr>
              <a:t>earnings-per-share </a:t>
            </a:r>
            <a:r>
              <a:rPr lang="en-US" sz="1400" dirty="0">
                <a:solidFill>
                  <a:srgbClr val="000000"/>
                </a:solidFill>
              </a:rPr>
              <a:t>(EPS) ratios</a:t>
            </a:r>
            <a:r>
              <a:rPr lang="en-US" sz="1400" dirty="0" smtClean="0">
                <a:solidFill>
                  <a:srgbClr val="000000"/>
                </a:solidFill>
              </a:rPr>
              <a:t>.</a:t>
            </a:r>
          </a:p>
          <a:p>
            <a:pPr marL="190500" lvl="1" indent="-188913">
              <a:lnSpc>
                <a:spcPct val="95000"/>
              </a:lnSpc>
              <a:spcBef>
                <a:spcPct val="0"/>
              </a:spcBef>
              <a:buClr>
                <a:srgbClr val="14044E"/>
              </a:buClr>
              <a:buFont typeface="Arial" charset="0"/>
              <a:buChar char="»"/>
            </a:pPr>
            <a:endParaRPr lang="de-CH" sz="1400" b="0" dirty="0">
              <a:solidFill>
                <a:srgbClr val="000000"/>
              </a:solidFill>
            </a:endParaRPr>
          </a:p>
          <a:p>
            <a:pPr marL="190500" lvl="1" indent="-188913">
              <a:lnSpc>
                <a:spcPct val="95000"/>
              </a:lnSpc>
              <a:spcBef>
                <a:spcPct val="0"/>
              </a:spcBef>
              <a:buClr>
                <a:srgbClr val="14044E"/>
              </a:buClr>
              <a:buFont typeface="Arial" charset="0"/>
              <a:buChar char="»"/>
            </a:pPr>
            <a:r>
              <a:rPr lang="de-CH" sz="1400" dirty="0" smtClean="0">
                <a:solidFill>
                  <a:srgbClr val="000000"/>
                </a:solidFill>
              </a:rPr>
              <a:t>Components </a:t>
            </a:r>
            <a:r>
              <a:rPr lang="de-CH" sz="1400" dirty="0" err="1" smtClean="0">
                <a:solidFill>
                  <a:srgbClr val="000000"/>
                </a:solidFill>
              </a:rPr>
              <a:t>are</a:t>
            </a:r>
            <a:r>
              <a:rPr lang="de-CH" sz="1400" dirty="0" smtClean="0">
                <a:solidFill>
                  <a:srgbClr val="000000"/>
                </a:solidFill>
              </a:rPr>
              <a:t> </a:t>
            </a:r>
            <a:r>
              <a:rPr lang="de-CH" sz="1400" dirty="0" err="1" smtClean="0">
                <a:solidFill>
                  <a:srgbClr val="000000"/>
                </a:solidFill>
              </a:rPr>
              <a:t>weighted</a:t>
            </a:r>
            <a:r>
              <a:rPr lang="de-CH" sz="1400" dirty="0" smtClean="0">
                <a:solidFill>
                  <a:srgbClr val="000000"/>
                </a:solidFill>
              </a:rPr>
              <a:t> </a:t>
            </a:r>
            <a:r>
              <a:rPr lang="de-CH" sz="1400" dirty="0" err="1" smtClean="0">
                <a:solidFill>
                  <a:srgbClr val="000000"/>
                </a:solidFill>
              </a:rPr>
              <a:t>by</a:t>
            </a:r>
            <a:r>
              <a:rPr lang="de-CH" sz="1400" dirty="0" smtClean="0">
                <a:solidFill>
                  <a:srgbClr val="000000"/>
                </a:solidFill>
              </a:rPr>
              <a:t> </a:t>
            </a:r>
            <a:r>
              <a:rPr lang="de-CH" sz="1400" dirty="0" err="1" smtClean="0">
                <a:solidFill>
                  <a:srgbClr val="000000"/>
                </a:solidFill>
              </a:rPr>
              <a:t>their</a:t>
            </a:r>
            <a:r>
              <a:rPr lang="de-CH" sz="1400" dirty="0" smtClean="0">
                <a:solidFill>
                  <a:srgbClr val="000000"/>
                </a:solidFill>
              </a:rPr>
              <a:t> </a:t>
            </a:r>
            <a:r>
              <a:rPr lang="de-CH" sz="1400" dirty="0" err="1" smtClean="0">
                <a:solidFill>
                  <a:srgbClr val="000000"/>
                </a:solidFill>
              </a:rPr>
              <a:t>indicated</a:t>
            </a:r>
            <a:r>
              <a:rPr lang="de-CH" sz="1400" dirty="0" smtClean="0">
                <a:solidFill>
                  <a:srgbClr val="000000"/>
                </a:solidFill>
              </a:rPr>
              <a:t> </a:t>
            </a:r>
            <a:r>
              <a:rPr lang="de-CH" sz="1400" dirty="0" err="1" smtClean="0">
                <a:solidFill>
                  <a:srgbClr val="000000"/>
                </a:solidFill>
              </a:rPr>
              <a:t>annual</a:t>
            </a:r>
            <a:r>
              <a:rPr lang="de-CH" sz="1400" dirty="0" smtClean="0">
                <a:solidFill>
                  <a:srgbClr val="000000"/>
                </a:solidFill>
              </a:rPr>
              <a:t> </a:t>
            </a:r>
            <a:r>
              <a:rPr lang="de-CH" sz="1400" dirty="0" err="1" smtClean="0">
                <a:solidFill>
                  <a:srgbClr val="000000"/>
                </a:solidFill>
              </a:rPr>
              <a:t>net</a:t>
            </a:r>
            <a:r>
              <a:rPr lang="de-CH" sz="1400" dirty="0" smtClean="0">
                <a:solidFill>
                  <a:srgbClr val="000000"/>
                </a:solidFill>
              </a:rPr>
              <a:t> </a:t>
            </a:r>
            <a:r>
              <a:rPr lang="de-CH" sz="1400" dirty="0" err="1" smtClean="0">
                <a:solidFill>
                  <a:srgbClr val="000000"/>
                </a:solidFill>
              </a:rPr>
              <a:t>dividend</a:t>
            </a:r>
            <a:r>
              <a:rPr lang="de-CH" sz="1400" dirty="0" smtClean="0">
                <a:solidFill>
                  <a:srgbClr val="000000"/>
                </a:solidFill>
              </a:rPr>
              <a:t> </a:t>
            </a:r>
            <a:r>
              <a:rPr lang="de-CH" sz="1400" dirty="0" err="1" smtClean="0">
                <a:solidFill>
                  <a:srgbClr val="000000"/>
                </a:solidFill>
              </a:rPr>
              <a:t>yield</a:t>
            </a:r>
            <a:r>
              <a:rPr lang="de-CH" sz="1400" dirty="0" smtClean="0">
                <a:solidFill>
                  <a:srgbClr val="000000"/>
                </a:solidFill>
              </a:rPr>
              <a:t>, i.e. </a:t>
            </a:r>
            <a:r>
              <a:rPr lang="de-CH" sz="1400" dirty="0" err="1" smtClean="0">
                <a:solidFill>
                  <a:srgbClr val="000000"/>
                </a:solidFill>
              </a:rPr>
              <a:t>the</a:t>
            </a:r>
            <a:r>
              <a:rPr lang="de-CH" sz="1400" dirty="0" smtClean="0">
                <a:solidFill>
                  <a:srgbClr val="000000"/>
                </a:solidFill>
              </a:rPr>
              <a:t> </a:t>
            </a:r>
            <a:r>
              <a:rPr lang="de-CH" sz="1400" dirty="0" err="1" smtClean="0">
                <a:solidFill>
                  <a:srgbClr val="000000"/>
                </a:solidFill>
              </a:rPr>
              <a:t>largest</a:t>
            </a:r>
            <a:r>
              <a:rPr lang="de-CH" sz="1400" dirty="0" smtClean="0">
                <a:solidFill>
                  <a:srgbClr val="000000"/>
                </a:solidFill>
              </a:rPr>
              <a:t> </a:t>
            </a:r>
            <a:r>
              <a:rPr lang="de-CH" sz="1400" dirty="0" err="1" smtClean="0">
                <a:solidFill>
                  <a:srgbClr val="000000"/>
                </a:solidFill>
              </a:rPr>
              <a:t>dividend-yielding</a:t>
            </a:r>
            <a:r>
              <a:rPr lang="de-CH" sz="1400" dirty="0" smtClean="0">
                <a:solidFill>
                  <a:srgbClr val="000000"/>
                </a:solidFill>
              </a:rPr>
              <a:t> </a:t>
            </a:r>
            <a:r>
              <a:rPr lang="de-CH" sz="1400" dirty="0" err="1" smtClean="0">
                <a:solidFill>
                  <a:srgbClr val="000000"/>
                </a:solidFill>
              </a:rPr>
              <a:t>companies</a:t>
            </a:r>
            <a:r>
              <a:rPr lang="de-CH" sz="1400" dirty="0" smtClean="0">
                <a:solidFill>
                  <a:srgbClr val="000000"/>
                </a:solidFill>
              </a:rPr>
              <a:t> </a:t>
            </a:r>
            <a:r>
              <a:rPr lang="de-CH" sz="1400" dirty="0" err="1" smtClean="0">
                <a:solidFill>
                  <a:srgbClr val="000000"/>
                </a:solidFill>
              </a:rPr>
              <a:t>have</a:t>
            </a:r>
            <a:r>
              <a:rPr lang="de-CH" sz="1400" dirty="0" smtClean="0">
                <a:solidFill>
                  <a:srgbClr val="000000"/>
                </a:solidFill>
              </a:rPr>
              <a:t> </a:t>
            </a:r>
            <a:r>
              <a:rPr lang="de-CH" sz="1400" dirty="0" err="1" smtClean="0">
                <a:solidFill>
                  <a:srgbClr val="000000"/>
                </a:solidFill>
              </a:rPr>
              <a:t>the</a:t>
            </a:r>
            <a:r>
              <a:rPr lang="de-CH" sz="1400" dirty="0" smtClean="0">
                <a:solidFill>
                  <a:srgbClr val="000000"/>
                </a:solidFill>
              </a:rPr>
              <a:t> </a:t>
            </a:r>
            <a:r>
              <a:rPr lang="de-CH" sz="1400" dirty="0" err="1" smtClean="0">
                <a:solidFill>
                  <a:srgbClr val="000000"/>
                </a:solidFill>
              </a:rPr>
              <a:t>highest</a:t>
            </a:r>
            <a:r>
              <a:rPr lang="de-CH" sz="1400" dirty="0" smtClean="0">
                <a:solidFill>
                  <a:srgbClr val="000000"/>
                </a:solidFill>
              </a:rPr>
              <a:t> </a:t>
            </a:r>
            <a:r>
              <a:rPr lang="de-CH" sz="1400" dirty="0" err="1" smtClean="0">
                <a:solidFill>
                  <a:srgbClr val="000000"/>
                </a:solidFill>
              </a:rPr>
              <a:t>weight</a:t>
            </a:r>
            <a:r>
              <a:rPr lang="de-CH" sz="1400" dirty="0" smtClean="0">
                <a:solidFill>
                  <a:srgbClr val="000000"/>
                </a:solidFill>
              </a:rPr>
              <a:t> in </a:t>
            </a:r>
            <a:r>
              <a:rPr lang="de-CH" sz="1400" dirty="0" err="1" smtClean="0">
                <a:solidFill>
                  <a:srgbClr val="000000"/>
                </a:solidFill>
              </a:rPr>
              <a:t>the</a:t>
            </a:r>
            <a:r>
              <a:rPr lang="de-CH" sz="1400" dirty="0" smtClean="0">
                <a:solidFill>
                  <a:srgbClr val="000000"/>
                </a:solidFill>
              </a:rPr>
              <a:t> </a:t>
            </a:r>
            <a:r>
              <a:rPr lang="de-CH" sz="1400" dirty="0" err="1" smtClean="0">
                <a:solidFill>
                  <a:srgbClr val="000000"/>
                </a:solidFill>
              </a:rPr>
              <a:t>index</a:t>
            </a:r>
            <a:endParaRPr lang="de-CH" sz="1400" dirty="0" smtClean="0">
              <a:solidFill>
                <a:srgbClr val="000000"/>
              </a:solidFill>
            </a:endParaRPr>
          </a:p>
          <a:p>
            <a:pPr marL="190500" lvl="1" indent="-188913">
              <a:lnSpc>
                <a:spcPct val="95000"/>
              </a:lnSpc>
              <a:spcBef>
                <a:spcPct val="0"/>
              </a:spcBef>
              <a:buClr>
                <a:srgbClr val="14044E"/>
              </a:buClr>
              <a:buFont typeface="Arial" charset="0"/>
              <a:buChar char="»"/>
            </a:pPr>
            <a:endParaRPr lang="de-CH" sz="1400" b="0" dirty="0">
              <a:solidFill>
                <a:srgbClr val="000000"/>
              </a:solidFill>
            </a:endParaRPr>
          </a:p>
          <a:p>
            <a:pPr marL="190500" lvl="1" indent="-188913">
              <a:lnSpc>
                <a:spcPct val="95000"/>
              </a:lnSpc>
              <a:spcBef>
                <a:spcPct val="0"/>
              </a:spcBef>
              <a:buClr>
                <a:srgbClr val="14044E"/>
              </a:buClr>
              <a:buFont typeface="Arial" charset="0"/>
              <a:buChar char="»"/>
            </a:pPr>
            <a:r>
              <a:rPr lang="de-CH" sz="1400" dirty="0" smtClean="0">
                <a:solidFill>
                  <a:srgbClr val="000000"/>
                </a:solidFill>
              </a:rPr>
              <a:t>Fixed </a:t>
            </a:r>
            <a:r>
              <a:rPr lang="de-CH" sz="1400" dirty="0" err="1" smtClean="0">
                <a:solidFill>
                  <a:srgbClr val="000000"/>
                </a:solidFill>
              </a:rPr>
              <a:t>component</a:t>
            </a:r>
            <a:r>
              <a:rPr lang="de-CH" sz="1400" dirty="0" smtClean="0">
                <a:solidFill>
                  <a:srgbClr val="000000"/>
                </a:solidFill>
              </a:rPr>
              <a:t> </a:t>
            </a:r>
            <a:r>
              <a:rPr lang="de-CH" sz="1400" dirty="0" err="1" smtClean="0">
                <a:solidFill>
                  <a:srgbClr val="000000"/>
                </a:solidFill>
              </a:rPr>
              <a:t>numbers</a:t>
            </a:r>
            <a:r>
              <a:rPr lang="de-CH" sz="1400" dirty="0" smtClean="0">
                <a:solidFill>
                  <a:srgbClr val="000000"/>
                </a:solidFill>
              </a:rPr>
              <a:t> </a:t>
            </a:r>
            <a:r>
              <a:rPr lang="de-CH" sz="1400" dirty="0" err="1" smtClean="0">
                <a:solidFill>
                  <a:srgbClr val="000000"/>
                </a:solidFill>
              </a:rPr>
              <a:t>and</a:t>
            </a:r>
            <a:r>
              <a:rPr lang="de-CH" sz="1400" dirty="0" smtClean="0">
                <a:solidFill>
                  <a:srgbClr val="000000"/>
                </a:solidFill>
              </a:rPr>
              <a:t> </a:t>
            </a:r>
            <a:r>
              <a:rPr lang="de-CH" sz="1400" dirty="0" err="1" smtClean="0">
                <a:solidFill>
                  <a:srgbClr val="000000"/>
                </a:solidFill>
              </a:rPr>
              <a:t>cap</a:t>
            </a:r>
            <a:r>
              <a:rPr lang="de-CH" sz="1400" dirty="0" smtClean="0">
                <a:solidFill>
                  <a:srgbClr val="000000"/>
                </a:solidFill>
              </a:rPr>
              <a:t> </a:t>
            </a:r>
            <a:r>
              <a:rPr lang="de-CH" sz="1400" dirty="0" err="1" smtClean="0">
                <a:solidFill>
                  <a:srgbClr val="000000"/>
                </a:solidFill>
              </a:rPr>
              <a:t>factors</a:t>
            </a:r>
            <a:r>
              <a:rPr lang="de-CH" sz="1400" dirty="0" smtClean="0">
                <a:solidFill>
                  <a:srgbClr val="000000"/>
                </a:solidFill>
              </a:rPr>
              <a:t> </a:t>
            </a:r>
            <a:r>
              <a:rPr lang="de-CH" sz="1400" dirty="0" err="1" smtClean="0">
                <a:solidFill>
                  <a:srgbClr val="000000"/>
                </a:solidFill>
              </a:rPr>
              <a:t>guarantee</a:t>
            </a:r>
            <a:r>
              <a:rPr lang="de-CH" sz="1400" dirty="0" smtClean="0">
                <a:solidFill>
                  <a:srgbClr val="000000"/>
                </a:solidFill>
              </a:rPr>
              <a:t> </a:t>
            </a:r>
            <a:r>
              <a:rPr lang="de-CH" sz="1400" dirty="0" err="1" smtClean="0">
                <a:solidFill>
                  <a:srgbClr val="000000"/>
                </a:solidFill>
              </a:rPr>
              <a:t>index</a:t>
            </a:r>
            <a:r>
              <a:rPr lang="de-CH" sz="1400" dirty="0" smtClean="0">
                <a:solidFill>
                  <a:srgbClr val="000000"/>
                </a:solidFill>
              </a:rPr>
              <a:t> </a:t>
            </a:r>
            <a:r>
              <a:rPr lang="de-CH" sz="1400" dirty="0" err="1" smtClean="0">
                <a:solidFill>
                  <a:srgbClr val="000000"/>
                </a:solidFill>
              </a:rPr>
              <a:t>diversification</a:t>
            </a:r>
            <a:endParaRPr lang="en-US" sz="1400" b="0" dirty="0">
              <a:solidFill>
                <a:srgbClr val="000000"/>
              </a:solidFill>
            </a:endParaRPr>
          </a:p>
        </p:txBody>
      </p:sp>
    </p:spTree>
    <p:extLst>
      <p:ext uri="{BB962C8B-B14F-4D97-AF65-F5344CB8AC3E}">
        <p14:creationId xmlns:p14="http://schemas.microsoft.com/office/powerpoint/2010/main" val="39298580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normAutofit/>
          </a:bodyPr>
          <a:lstStyle/>
          <a:p>
            <a:r>
              <a:rPr lang="en-US" dirty="0" smtClean="0"/>
              <a:t>Index risk and return characteristics</a:t>
            </a:r>
            <a:endParaRPr lang="en-US" dirty="0" smtClean="0">
              <a:solidFill>
                <a:schemeClr val="tx1"/>
              </a:solidFill>
            </a:endParaRP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2576712343"/>
              </p:ext>
            </p:extLst>
          </p:nvPr>
        </p:nvGraphicFramePr>
        <p:xfrm>
          <a:off x="377824" y="2278017"/>
          <a:ext cx="4348163" cy="3714280"/>
        </p:xfrm>
        <a:graphic>
          <a:graphicData uri="http://schemas.openxmlformats.org/drawingml/2006/table">
            <a:tbl>
              <a:tblPr>
                <a:tableStyleId>{616DA210-FB5B-4158-B5E0-FEB733F419BA}</a:tableStyleId>
              </a:tblPr>
              <a:tblGrid>
                <a:gridCol w="2127251"/>
                <a:gridCol w="1110456"/>
                <a:gridCol w="1110456"/>
              </a:tblGrid>
              <a:tr h="338286">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bg1"/>
                          </a:solidFill>
                          <a:effectLst/>
                          <a:latin typeface="Arial"/>
                          <a:ea typeface=""/>
                          <a:cs typeface=""/>
                        </a:rPr>
                        <a:t>STOXX Global Select Dividend 100 Index</a:t>
                      </a:r>
                      <a:endParaRPr kumimoji="0" lang="en-US" sz="1000" b="1" i="0" u="none" strike="noStrike" kern="1200" cap="none" normalizeH="0" baseline="0" noProof="0" dirty="0">
                        <a:ln>
                          <a:noFill/>
                        </a:ln>
                        <a:solidFill>
                          <a:schemeClr val="bg1"/>
                        </a:solidFill>
                        <a:effectLst/>
                        <a:latin typeface="Arial" charset="0"/>
                        <a:ea typeface=""/>
                        <a:cs typeface=""/>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1" i="0" u="none" strike="noStrike" kern="1200" cap="none" normalizeH="0" baseline="0" noProof="0" dirty="0" smtClean="0">
                          <a:ln>
                            <a:noFill/>
                          </a:ln>
                          <a:solidFill>
                            <a:schemeClr val="bg1"/>
                          </a:solidFill>
                          <a:effectLst/>
                          <a:latin typeface="Arial"/>
                          <a:ea typeface=""/>
                          <a:cs typeface=""/>
                        </a:rPr>
                        <a:t>STOXX Global 1800 Index</a:t>
                      </a:r>
                      <a:endParaRPr kumimoji="0" lang="en-US" sz="1000" b="1" i="0" u="none" strike="noStrike" kern="1200" cap="none" normalizeH="0" baseline="0" noProof="0" dirty="0" smtClean="0">
                        <a:ln>
                          <a:noFill/>
                        </a:ln>
                        <a:solidFill>
                          <a:schemeClr val="bg1"/>
                        </a:solidFill>
                        <a:effectLst/>
                        <a:latin typeface="Arial" charset="0"/>
                        <a:ea typeface=""/>
                        <a:cs typeface=""/>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1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1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 Year Return (annualized)</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18.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1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 Year Return (annualized)</a:t>
                      </a: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1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2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 Year Return (annualized)</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1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effectLst/>
                          <a:latin typeface="Arial"/>
                        </a:rPr>
                        <a:t>1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 Year Risk (standard deviatio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effectLst/>
                          <a:latin typeface="Arial"/>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8.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 Year Risk (standard deviatio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1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 Year Risk (standard deviation)</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effectLst/>
                          <a:latin typeface="Arial"/>
                        </a:rPr>
                        <a:t>1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effectLst/>
                          <a:latin typeface="Arial"/>
                        </a:rPr>
                        <a:t>1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Max Drawdown</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1)</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CH" sz="1100" b="0" i="0" u="none" strike="noStrike" dirty="0" smtClean="0">
                          <a:solidFill>
                            <a:srgbClr val="000000"/>
                          </a:solidFill>
                          <a:effectLst/>
                          <a:latin typeface="Calibri"/>
                        </a:rPr>
                        <a:t>65.2%</a:t>
                      </a:r>
                      <a:endParaRPr lang="en-US"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CH" sz="1100" b="0" i="0" u="none" strike="noStrike" dirty="0" smtClean="0">
                          <a:solidFill>
                            <a:srgbClr val="000000"/>
                          </a:solidFill>
                          <a:effectLst/>
                          <a:latin typeface="Calibri"/>
                        </a:rPr>
                        <a:t>52.4%</a:t>
                      </a:r>
                      <a:endParaRPr lang="en-US"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Sharpe ratio (5 year)</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CH" sz="1100" b="0" i="0" u="none" strike="noStrike" dirty="0" smtClean="0">
                          <a:solidFill>
                            <a:srgbClr val="000000"/>
                          </a:solidFill>
                          <a:effectLst/>
                          <a:latin typeface="Calibri"/>
                        </a:rPr>
                        <a:t>1.36</a:t>
                      </a:r>
                      <a:endParaRPr lang="en-US"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CH" sz="1100" b="0" i="0" u="none" strike="noStrike" dirty="0" smtClean="0">
                          <a:solidFill>
                            <a:srgbClr val="000000"/>
                          </a:solidFill>
                          <a:effectLst/>
                          <a:latin typeface="Calibri"/>
                        </a:rPr>
                        <a:t>1.16</a:t>
                      </a:r>
                      <a:endParaRPr lang="en-US" sz="1100" b="0" i="0" u="none" strike="noStrike" dirty="0">
                        <a:solidFill>
                          <a:srgbClr val="000000"/>
                        </a:solidFill>
                        <a:effectLst/>
                        <a:latin typeface="Calibri"/>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4251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prstClr val="white"/>
                </a:solidFill>
              </a:rPr>
              <a:t>Periods ending Sep. 30, 2014</a:t>
            </a:r>
            <a:endParaRPr lang="en-US" sz="1400" b="1" dirty="0">
              <a:solidFill>
                <a:prstClr val="white"/>
              </a:solidFill>
            </a:endParaRPr>
          </a:p>
        </p:txBody>
      </p:sp>
      <p:sp>
        <p:nvSpPr>
          <p:cNvPr id="86" name="Rectangle 2"/>
          <p:cNvSpPr>
            <a:spLocks noChangeArrowheads="1"/>
          </p:cNvSpPr>
          <p:nvPr/>
        </p:nvSpPr>
        <p:spPr bwMode="auto">
          <a:xfrm>
            <a:off x="5167313" y="184251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prstClr val="white"/>
                </a:solidFill>
              </a:rPr>
              <a:t>Growth of EUR100</a:t>
            </a:r>
            <a:endParaRPr lang="en-US" sz="1400" b="1" dirty="0">
              <a:solidFill>
                <a:prstClr val="white"/>
              </a:solidFill>
            </a:endParaRPr>
          </a:p>
        </p:txBody>
      </p:sp>
      <p:grpSp>
        <p:nvGrpSpPr>
          <p:cNvPr id="30" name="Group 5"/>
          <p:cNvGrpSpPr>
            <a:grpSpLocks/>
          </p:cNvGrpSpPr>
          <p:nvPr/>
        </p:nvGrpSpPr>
        <p:grpSpPr bwMode="auto">
          <a:xfrm>
            <a:off x="5167313" y="5475890"/>
            <a:ext cx="2969550" cy="153988"/>
            <a:chOff x="176" y="3893"/>
            <a:chExt cx="1727" cy="97"/>
          </a:xfrm>
        </p:grpSpPr>
        <p:sp>
          <p:nvSpPr>
            <p:cNvPr id="31" name="Rectangle 6"/>
            <p:cNvSpPr>
              <a:spLocks noChangeArrowheads="1"/>
            </p:cNvSpPr>
            <p:nvPr/>
          </p:nvSpPr>
          <p:spPr bwMode="auto">
            <a:xfrm>
              <a:off x="176" y="3896"/>
              <a:ext cx="136" cy="91"/>
            </a:xfrm>
            <a:prstGeom prst="rect">
              <a:avLst/>
            </a:prstGeom>
            <a:solidFill>
              <a:schemeClr val="accent1"/>
            </a:solidFill>
            <a:ln w="9525" algn="ctr">
              <a:noFill/>
              <a:miter lim="800000"/>
              <a:headEnd/>
              <a:tailEnd/>
            </a:ln>
          </p:spPr>
          <p:txBody>
            <a:bodyPr wrap="none" lIns="0" tIns="0" rIns="0" bIns="0" anchor="ctr"/>
            <a:lstStyle/>
            <a:p>
              <a:pPr>
                <a:spcBef>
                  <a:spcPct val="0"/>
                </a:spcBef>
              </a:pPr>
              <a:endParaRPr lang="en-US" dirty="0">
                <a:solidFill>
                  <a:prstClr val="black"/>
                </a:solidFill>
              </a:endParaRPr>
            </a:p>
          </p:txBody>
        </p:sp>
        <p:sp>
          <p:nvSpPr>
            <p:cNvPr id="32" name="Legend"/>
            <p:cNvSpPr txBox="1">
              <a:spLocks noChangeArrowheads="1"/>
            </p:cNvSpPr>
            <p:nvPr/>
          </p:nvSpPr>
          <p:spPr bwMode="auto">
            <a:xfrm>
              <a:off x="376" y="3893"/>
              <a:ext cx="1527" cy="97"/>
            </a:xfrm>
            <a:prstGeom prst="rect">
              <a:avLst/>
            </a:prstGeom>
            <a:noFill/>
            <a:ln w="9525" algn="ctr">
              <a:noFill/>
              <a:miter lim="800000"/>
              <a:headEnd/>
              <a:tailEnd/>
            </a:ln>
          </p:spPr>
          <p:txBody>
            <a:bodyPr wrap="none" lIns="0" tIns="0" rIns="0" bIns="0" anchor="t" anchorCtr="0">
              <a:spAutoFit/>
            </a:bodyPr>
            <a:lstStyle/>
            <a:p>
              <a:pPr>
                <a:spcBef>
                  <a:spcPct val="0"/>
                </a:spcBef>
              </a:pPr>
              <a:r>
                <a:rPr lang="de-CH" sz="1000" dirty="0" smtClean="0">
                  <a:solidFill>
                    <a:prstClr val="black"/>
                  </a:solidFill>
                </a:rPr>
                <a:t>STOXX Global Select Dividend 100 (EUR NR)</a:t>
              </a:r>
              <a:endParaRPr lang="en-US" sz="1000" dirty="0" smtClean="0">
                <a:solidFill>
                  <a:prstClr val="black"/>
                </a:solidFill>
              </a:endParaRPr>
            </a:p>
          </p:txBody>
        </p:sp>
      </p:grpSp>
      <p:graphicFrame>
        <p:nvGraphicFramePr>
          <p:cNvPr id="22" name="Object 9"/>
          <p:cNvGraphicFramePr>
            <a:graphicFrameLocks/>
          </p:cNvGraphicFramePr>
          <p:nvPr>
            <p:extLst>
              <p:ext uri="{D42A27DB-BD31-4B8C-83A1-F6EECF244321}">
                <p14:modId xmlns:p14="http://schemas.microsoft.com/office/powerpoint/2010/main" val="1786302676"/>
              </p:ext>
            </p:extLst>
          </p:nvPr>
        </p:nvGraphicFramePr>
        <p:xfrm>
          <a:off x="5163312" y="2196958"/>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platzhalter 20"/>
          <p:cNvSpPr>
            <a:spLocks noGrp="1"/>
          </p:cNvSpPr>
          <p:nvPr>
            <p:ph type="body" sz="quarter" idx="12"/>
          </p:nvPr>
        </p:nvSpPr>
        <p:spPr>
          <a:xfrm>
            <a:off x="1648369" y="6463553"/>
            <a:ext cx="7410620" cy="171450"/>
          </a:xfrm>
        </p:spPr>
        <p:txBody>
          <a:bodyPr/>
          <a:lstStyle/>
          <a:p>
            <a:pPr marL="0" indent="0">
              <a:buNone/>
            </a:pPr>
            <a:r>
              <a:rPr lang="en-US" dirty="0" smtClean="0"/>
              <a:t>1) </a:t>
            </a:r>
            <a:r>
              <a:rPr lang="en-US" altLang="en-US" dirty="0"/>
              <a:t>STOXX data from Oct. 1, 2007 to </a:t>
            </a:r>
            <a:r>
              <a:rPr lang="en-US" altLang="en-US" dirty="0" smtClean="0"/>
              <a:t>Sep. </a:t>
            </a:r>
            <a:r>
              <a:rPr lang="en-US" altLang="en-US" dirty="0"/>
              <a:t>30, 2014</a:t>
            </a:r>
          </a:p>
        </p:txBody>
      </p:sp>
      <p:sp>
        <p:nvSpPr>
          <p:cNvPr id="19" name="Textplatzhalter 25"/>
          <p:cNvSpPr txBox="1">
            <a:spLocks/>
          </p:cNvSpPr>
          <p:nvPr/>
        </p:nvSpPr>
        <p:spPr>
          <a:xfrm>
            <a:off x="357566" y="1354093"/>
            <a:ext cx="8325716" cy="292388"/>
          </a:xfrm>
          <a:prstGeom prst="rect">
            <a:avLst/>
          </a:prstGeom>
        </p:spPr>
        <p:txBody>
          <a:bodyPr vert="horz" lIns="0" tIns="0" rIns="0" bIns="0" rtlCol="0">
            <a:spAutoFit/>
          </a:bodyPr>
          <a:lstStyle>
            <a:lvl1pPr marL="0" indent="0" algn="l" defTabSz="914400" rtl="0" eaLnBrk="1" latinLnBrk="0" hangingPunct="1">
              <a:lnSpc>
                <a:spcPct val="95000"/>
              </a:lnSpc>
              <a:spcBef>
                <a:spcPts val="0"/>
              </a:spcBef>
              <a:buFont typeface="Arial" pitchFamily="34" charset="0"/>
              <a:buNone/>
              <a:defRPr lang="en-US" sz="2000" b="0" kern="120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2000" b="0" kern="120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2000" b="0" kern="120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2000" b="0" kern="120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20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dirty="0" smtClean="0">
                <a:solidFill>
                  <a:prstClr val="black"/>
                </a:solidFill>
              </a:rPr>
              <a:t>STOXX Global Select Dividend Index</a:t>
            </a:r>
            <a:endParaRPr dirty="0">
              <a:solidFill>
                <a:prstClr val="black"/>
              </a:solidFill>
            </a:endParaRPr>
          </a:p>
        </p:txBody>
      </p:sp>
      <p:grpSp>
        <p:nvGrpSpPr>
          <p:cNvPr id="17" name="Group 5"/>
          <p:cNvGrpSpPr>
            <a:grpSpLocks/>
          </p:cNvGrpSpPr>
          <p:nvPr/>
        </p:nvGrpSpPr>
        <p:grpSpPr bwMode="auto">
          <a:xfrm>
            <a:off x="5171117" y="5751122"/>
            <a:ext cx="2111526" cy="153988"/>
            <a:chOff x="146" y="3893"/>
            <a:chExt cx="1228" cy="97"/>
          </a:xfrm>
        </p:grpSpPr>
        <p:sp>
          <p:nvSpPr>
            <p:cNvPr id="26" name="Rectangle 6"/>
            <p:cNvSpPr>
              <a:spLocks noChangeArrowheads="1"/>
            </p:cNvSpPr>
            <p:nvPr/>
          </p:nvSpPr>
          <p:spPr bwMode="auto">
            <a:xfrm>
              <a:off x="146" y="3896"/>
              <a:ext cx="136" cy="91"/>
            </a:xfrm>
            <a:prstGeom prst="rect">
              <a:avLst/>
            </a:prstGeom>
            <a:solidFill>
              <a:schemeClr val="accent2"/>
            </a:solidFill>
            <a:ln w="9525" algn="ctr">
              <a:solidFill>
                <a:schemeClr val="accent2"/>
              </a:solidFill>
              <a:miter lim="800000"/>
              <a:headEnd/>
              <a:tailEnd/>
            </a:ln>
          </p:spPr>
          <p:txBody>
            <a:bodyPr wrap="none" lIns="0" tIns="0" rIns="0" bIns="0" anchor="ctr"/>
            <a:lstStyle/>
            <a:p>
              <a:pPr>
                <a:spcBef>
                  <a:spcPct val="0"/>
                </a:spcBef>
              </a:pPr>
              <a:endParaRPr lang="en-US" dirty="0">
                <a:solidFill>
                  <a:prstClr val="black"/>
                </a:solidFill>
              </a:endParaRPr>
            </a:p>
          </p:txBody>
        </p:sp>
        <p:sp>
          <p:nvSpPr>
            <p:cNvPr id="27" name="Legend"/>
            <p:cNvSpPr txBox="1">
              <a:spLocks noChangeArrowheads="1"/>
            </p:cNvSpPr>
            <p:nvPr/>
          </p:nvSpPr>
          <p:spPr bwMode="auto">
            <a:xfrm>
              <a:off x="346" y="3893"/>
              <a:ext cx="1028" cy="97"/>
            </a:xfrm>
            <a:prstGeom prst="rect">
              <a:avLst/>
            </a:prstGeom>
            <a:noFill/>
            <a:ln w="9525" algn="ctr">
              <a:noFill/>
              <a:miter lim="800000"/>
              <a:headEnd/>
              <a:tailEnd/>
            </a:ln>
          </p:spPr>
          <p:txBody>
            <a:bodyPr wrap="none" lIns="0" tIns="0" rIns="0" bIns="0" anchor="t" anchorCtr="0">
              <a:spAutoFit/>
            </a:bodyPr>
            <a:lstStyle/>
            <a:p>
              <a:pPr>
                <a:spcBef>
                  <a:spcPct val="0"/>
                </a:spcBef>
              </a:pPr>
              <a:r>
                <a:rPr lang="en-US" sz="1000" dirty="0" smtClean="0">
                  <a:solidFill>
                    <a:prstClr val="black"/>
                  </a:solidFill>
                </a:rPr>
                <a:t>STOXX Global 1800 (EUR NR)</a:t>
              </a:r>
            </a:p>
          </p:txBody>
        </p:sp>
      </p:grpSp>
    </p:spTree>
    <p:extLst>
      <p:ext uri="{BB962C8B-B14F-4D97-AF65-F5344CB8AC3E}">
        <p14:creationId xmlns:p14="http://schemas.microsoft.com/office/powerpoint/2010/main" val="20121216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a:xfrm>
            <a:off x="368300" y="401841"/>
            <a:ext cx="9158288" cy="771322"/>
          </a:xfrm>
        </p:spPr>
        <p:txBody>
          <a:bodyPr>
            <a:normAutofit/>
          </a:bodyPr>
          <a:lstStyle/>
          <a:p>
            <a:r>
              <a:rPr lang="en-US" dirty="0"/>
              <a:t>I</a:t>
            </a:r>
            <a:r>
              <a:rPr lang="en-US" dirty="0" smtClean="0"/>
              <a:t>ndex fundamental characteristics</a:t>
            </a:r>
            <a:endParaRPr lang="en-US" dirty="0" smtClean="0">
              <a:solidFill>
                <a:schemeClr val="tx1"/>
              </a:solidFill>
            </a:endParaRPr>
          </a:p>
        </p:txBody>
      </p:sp>
      <p:sp>
        <p:nvSpPr>
          <p:cNvPr id="26" name="Textplatzhalter 25"/>
          <p:cNvSpPr>
            <a:spLocks noGrp="1"/>
          </p:cNvSpPr>
          <p:nvPr>
            <p:ph type="body" sz="quarter" idx="13"/>
          </p:nvPr>
        </p:nvSpPr>
        <p:spPr>
          <a:xfrm>
            <a:off x="368300" y="1338362"/>
            <a:ext cx="9158288" cy="292388"/>
          </a:xfrm>
        </p:spPr>
        <p:txBody>
          <a:bodyPr/>
          <a:lstStyle/>
          <a:p>
            <a:r>
              <a:rPr lang="en-US" dirty="0" smtClean="0"/>
              <a:t>STOXX Global Select Dividend 100 Index</a:t>
            </a:r>
            <a:endParaRPr lang="de-DE" dirty="0"/>
          </a:p>
        </p:txBody>
      </p:sp>
      <p:sp>
        <p:nvSpPr>
          <p:cNvPr id="21" name="Textplatzhalter 20"/>
          <p:cNvSpPr>
            <a:spLocks noGrp="1"/>
          </p:cNvSpPr>
          <p:nvPr>
            <p:ph type="body" sz="quarter" idx="12"/>
          </p:nvPr>
        </p:nvSpPr>
        <p:spPr/>
        <p:txBody>
          <a:bodyPr/>
          <a:lstStyle/>
          <a:p>
            <a:r>
              <a:rPr lang="en-US" altLang="en-US" dirty="0"/>
              <a:t>STOXX data from Oct. 1, 2007 to </a:t>
            </a:r>
            <a:r>
              <a:rPr lang="en-US" altLang="en-US" dirty="0" smtClean="0"/>
              <a:t>Sep. </a:t>
            </a:r>
            <a:r>
              <a:rPr lang="en-US" altLang="en-US" dirty="0"/>
              <a:t>30, 2014</a:t>
            </a:r>
            <a:endParaRPr lang="en-US" dirty="0" smtClean="0"/>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1575409028"/>
              </p:ext>
            </p:extLst>
          </p:nvPr>
        </p:nvGraphicFramePr>
        <p:xfrm>
          <a:off x="5010149" y="2211342"/>
          <a:ext cx="4516439" cy="1026360"/>
        </p:xfrm>
        <a:graphic>
          <a:graphicData uri="http://schemas.openxmlformats.org/drawingml/2006/table">
            <a:tbl>
              <a:tblPr>
                <a:tableStyleId>{616DA210-FB5B-4158-B5E0-FEB733F419BA}</a:tableStyleId>
              </a:tblPr>
              <a:tblGrid>
                <a:gridCol w="1950209"/>
                <a:gridCol w="2566230"/>
              </a:tblGrid>
              <a:tr h="3524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cap="none" normalizeH="0" baseline="0" noProof="0" dirty="0" smtClean="0">
                          <a:ln>
                            <a:noFill/>
                          </a:ln>
                          <a:solidFill>
                            <a:schemeClr val="tx1"/>
                          </a:solidFill>
                          <a:effectLst/>
                          <a:latin typeface="Arial" charset="0"/>
                        </a:rPr>
                        <a:t>Key figures</a:t>
                      </a:r>
                      <a:r>
                        <a:rPr kumimoji="0" lang="en-US" sz="1000" b="0" i="0" u="none" strike="noStrike" cap="none" normalizeH="0" baseline="30000" noProof="0" dirty="0" smtClean="0">
                          <a:ln>
                            <a:noFill/>
                          </a:ln>
                          <a:solidFill>
                            <a:schemeClr val="tx1"/>
                          </a:solidFill>
                          <a:effectLst/>
                          <a:latin typeface="Arial" charset="0"/>
                        </a:rPr>
                        <a:t>1)</a:t>
                      </a:r>
                    </a:p>
                  </a:txBody>
                  <a:tcPr marL="0" marR="72000" marT="72000" marB="72000"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bg1"/>
                          </a:solidFill>
                          <a:effectLst/>
                          <a:latin typeface="Arial"/>
                          <a:ea typeface=""/>
                          <a:cs typeface=""/>
                        </a:rPr>
                        <a:t>STOXX Global Select Dividend vs STOXX Global 1800 Index</a:t>
                      </a:r>
                      <a:endParaRPr kumimoji="0" lang="en-US" sz="1000" b="1" i="0" u="none" strike="noStrike" kern="1200" cap="none" normalizeH="0" baseline="0" noProof="0" dirty="0">
                        <a:ln>
                          <a:noFill/>
                        </a:ln>
                        <a:solidFill>
                          <a:schemeClr val="bg1"/>
                        </a:solidFill>
                        <a:effectLst/>
                        <a:latin typeface="Arial" charset="0"/>
                        <a:ea typeface=""/>
                        <a:cs typeface=""/>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8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R^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8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2346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prstClr val="white"/>
                </a:solidFill>
              </a:rPr>
              <a:t>Industry weighting as of Sep. 30, 2014</a:t>
            </a:r>
            <a:endParaRPr lang="en-US" sz="1400" b="1" dirty="0">
              <a:solidFill>
                <a:prstClr val="white"/>
              </a:solidFill>
            </a:endParaRPr>
          </a:p>
        </p:txBody>
      </p:sp>
      <p:sp>
        <p:nvSpPr>
          <p:cNvPr id="86" name="Rectangle 2"/>
          <p:cNvSpPr>
            <a:spLocks noChangeArrowheads="1"/>
          </p:cNvSpPr>
          <p:nvPr/>
        </p:nvSpPr>
        <p:spPr bwMode="auto">
          <a:xfrm>
            <a:off x="5167313" y="1832985"/>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endParaRPr lang="en-US" sz="1400" b="1" dirty="0">
              <a:solidFill>
                <a:prstClr val="white"/>
              </a:solidFill>
            </a:endParaRPr>
          </a:p>
        </p:txBody>
      </p:sp>
      <p:graphicFrame>
        <p:nvGraphicFramePr>
          <p:cNvPr id="20" name="Group 62"/>
          <p:cNvGraphicFramePr>
            <a:graphicFrameLocks noGrp="1"/>
          </p:cNvGraphicFramePr>
          <p:nvPr>
            <p:custDataLst>
              <p:tags r:id="rId2"/>
            </p:custDataLst>
            <p:extLst>
              <p:ext uri="{D42A27DB-BD31-4B8C-83A1-F6EECF244321}">
                <p14:modId xmlns:p14="http://schemas.microsoft.com/office/powerpoint/2010/main" val="2338825097"/>
              </p:ext>
            </p:extLst>
          </p:nvPr>
        </p:nvGraphicFramePr>
        <p:xfrm>
          <a:off x="419100" y="2211342"/>
          <a:ext cx="4306889" cy="3721590"/>
        </p:xfrm>
        <a:graphic>
          <a:graphicData uri="http://schemas.openxmlformats.org/drawingml/2006/table">
            <a:tbl>
              <a:tblPr>
                <a:tableStyleId>{616DA210-FB5B-4158-B5E0-FEB733F419BA}</a:tableStyleId>
              </a:tblPr>
              <a:tblGrid>
                <a:gridCol w="1608895"/>
                <a:gridCol w="1348997"/>
                <a:gridCol w="1348997"/>
              </a:tblGrid>
              <a:tr h="338286">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bg1"/>
                          </a:solidFill>
                          <a:effectLst/>
                          <a:latin typeface="Arial"/>
                          <a:ea typeface=""/>
                          <a:cs typeface=""/>
                        </a:rPr>
                        <a:t>STOXX Global Select Dividend 100 Index</a:t>
                      </a:r>
                      <a:endParaRPr kumimoji="0" lang="en-US" sz="1000" b="1" i="0" u="none" strike="noStrike" kern="1200" cap="none" normalizeH="0" baseline="0" noProof="0" dirty="0">
                        <a:ln>
                          <a:noFill/>
                        </a:ln>
                        <a:solidFill>
                          <a:schemeClr val="bg1"/>
                        </a:solidFill>
                        <a:effectLst/>
                        <a:latin typeface="Arial" charset="0"/>
                        <a:ea typeface=""/>
                        <a:cs typeface=""/>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1" i="0" u="none" strike="noStrike" kern="1200" cap="none" normalizeH="0" baseline="0" noProof="0" dirty="0" smtClean="0">
                          <a:ln>
                            <a:noFill/>
                          </a:ln>
                          <a:solidFill>
                            <a:schemeClr val="bg1"/>
                          </a:solidFill>
                          <a:effectLst/>
                          <a:latin typeface="Arial"/>
                          <a:ea typeface=""/>
                          <a:cs typeface=""/>
                        </a:rPr>
                        <a:t>STOXX Global 1800 Index</a:t>
                      </a:r>
                      <a:endParaRPr kumimoji="0" lang="en-US" sz="1000" b="1" i="0" u="none" strike="noStrike" kern="1200" cap="none" normalizeH="0" baseline="0" noProof="0" dirty="0" smtClean="0">
                        <a:ln>
                          <a:noFill/>
                        </a:ln>
                        <a:solidFill>
                          <a:schemeClr val="bg1"/>
                        </a:solidFill>
                        <a:effectLst/>
                        <a:latin typeface="Arial" charset="0"/>
                        <a:ea typeface=""/>
                        <a:cs typeface=""/>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0">
                <a:tc>
                  <a:txBody>
                    <a:bodyPr/>
                    <a:lstStyle/>
                    <a:p>
                      <a:pPr algn="l" fontAlgn="b">
                        <a:lnSpc>
                          <a:spcPct val="200000"/>
                        </a:lnSpc>
                      </a:pPr>
                      <a:r>
                        <a:rPr lang="en-US" sz="1000" b="0" i="0" u="none" strike="noStrike" dirty="0">
                          <a:solidFill>
                            <a:srgbClr val="000000"/>
                          </a:solidFill>
                          <a:effectLst/>
                          <a:latin typeface="Arial"/>
                        </a:rPr>
                        <a:t> Basic Materials</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lnSpc>
                          <a:spcPct val="200000"/>
                        </a:lnSpc>
                      </a:pP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Arial"/>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Consumer Goods</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Arial"/>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1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Consumer Services</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1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Financials</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37.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2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Health Care</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1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Industrials</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1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Oil &amp; Gas</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8.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Technology</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1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Telecommunications</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1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Arial"/>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fontAlgn="b">
                        <a:lnSpc>
                          <a:spcPct val="200000"/>
                        </a:lnSpc>
                      </a:pPr>
                      <a:r>
                        <a:rPr lang="en-US" sz="1000" b="0" i="0" u="none" strike="noStrike" dirty="0">
                          <a:solidFill>
                            <a:srgbClr val="000000"/>
                          </a:solidFill>
                          <a:effectLst/>
                          <a:latin typeface="Arial"/>
                        </a:rPr>
                        <a:t> Utilities</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Arial"/>
                        </a:rPr>
                        <a:t>1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Arial"/>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9" name="Group 62"/>
          <p:cNvGraphicFramePr>
            <a:graphicFrameLocks noGrp="1"/>
          </p:cNvGraphicFramePr>
          <p:nvPr>
            <p:custDataLst>
              <p:tags r:id="rId3"/>
            </p:custDataLst>
            <p:extLst>
              <p:ext uri="{D42A27DB-BD31-4B8C-83A1-F6EECF244321}">
                <p14:modId xmlns:p14="http://schemas.microsoft.com/office/powerpoint/2010/main" val="3501547902"/>
              </p:ext>
            </p:extLst>
          </p:nvPr>
        </p:nvGraphicFramePr>
        <p:xfrm>
          <a:off x="4962525" y="3432396"/>
          <a:ext cx="4564062" cy="2356740"/>
        </p:xfrm>
        <a:graphic>
          <a:graphicData uri="http://schemas.openxmlformats.org/drawingml/2006/table">
            <a:tbl>
              <a:tblPr>
                <a:tableStyleId>{616DA210-FB5B-4158-B5E0-FEB733F419BA}</a:tableStyleId>
              </a:tblPr>
              <a:tblGrid>
                <a:gridCol w="2011764"/>
                <a:gridCol w="1276149"/>
                <a:gridCol w="1276149"/>
              </a:tblGrid>
              <a:tr h="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bg1"/>
                          </a:solidFill>
                          <a:effectLst/>
                          <a:latin typeface="Arial"/>
                          <a:ea typeface=""/>
                          <a:cs typeface=""/>
                        </a:rPr>
                        <a:t>STOXX Global Select Dividend 100 Index</a:t>
                      </a:r>
                      <a:endParaRPr kumimoji="0" lang="en-US" sz="1000" b="1" i="0" u="none" strike="noStrike" kern="1200" cap="none" normalizeH="0" baseline="0" noProof="0" dirty="0">
                        <a:ln>
                          <a:noFill/>
                        </a:ln>
                        <a:solidFill>
                          <a:schemeClr val="bg1"/>
                        </a:solidFill>
                        <a:effectLst/>
                        <a:latin typeface="Arial" charset="0"/>
                        <a:ea typeface=""/>
                        <a:cs typeface=""/>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1" i="0" u="none" strike="noStrike" kern="1200" cap="none" normalizeH="0" baseline="0" noProof="0" dirty="0" smtClean="0">
                          <a:ln>
                            <a:noFill/>
                          </a:ln>
                          <a:solidFill>
                            <a:schemeClr val="bg1"/>
                          </a:solidFill>
                          <a:effectLst/>
                          <a:latin typeface="Arial"/>
                          <a:ea typeface=""/>
                          <a:cs typeface=""/>
                        </a:rPr>
                        <a:t>STOXX Global 1800 Index</a:t>
                      </a:r>
                      <a:endParaRPr kumimoji="0" lang="en-US" sz="1000" b="1" i="0" u="none" strike="noStrike" kern="1200" cap="none" normalizeH="0" baseline="0" noProof="0" dirty="0" smtClean="0">
                        <a:ln>
                          <a:noFill/>
                        </a:ln>
                        <a:solidFill>
                          <a:schemeClr val="bg1"/>
                        </a:solidFill>
                        <a:effectLst/>
                        <a:latin typeface="Arial" charset="0"/>
                        <a:ea typeface=""/>
                        <a:cs typeface=""/>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Avg. market cap (</a:t>
                      </a:r>
                      <a:r>
                        <a:rPr kumimoji="0" lang="en-US" sz="10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wted</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2.5b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68.1b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anie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80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 / Book</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 / Earnings (trailing)</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2.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 / Earnings (</a:t>
                      </a:r>
                      <a:r>
                        <a:rPr kumimoji="0" lang="en-US" sz="10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proj</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2.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Dividend </a:t>
                      </a:r>
                      <a:r>
                        <a:rPr kumimoji="0" lang="de-CH" sz="10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yield</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fontAlgn="b"/>
                      <a:r>
                        <a:rPr kumimoji="0" lang="de-CH"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Rectangle 2"/>
          <p:cNvSpPr>
            <a:spLocks noChangeArrowheads="1"/>
          </p:cNvSpPr>
          <p:nvPr/>
        </p:nvSpPr>
        <p:spPr bwMode="auto">
          <a:xfrm>
            <a:off x="4962525" y="1832985"/>
            <a:ext cx="45624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prstClr val="white"/>
                </a:solidFill>
              </a:rPr>
              <a:t>Fundamental characteristics  as of Sep. 30, </a:t>
            </a:r>
            <a:r>
              <a:rPr lang="en-US" sz="1400" b="1" dirty="0">
                <a:solidFill>
                  <a:prstClr val="white"/>
                </a:solidFill>
              </a:rPr>
              <a:t>2014</a:t>
            </a:r>
          </a:p>
        </p:txBody>
      </p:sp>
    </p:spTree>
    <p:extLst>
      <p:ext uri="{BB962C8B-B14F-4D97-AF65-F5344CB8AC3E}">
        <p14:creationId xmlns:p14="http://schemas.microsoft.com/office/powerpoint/2010/main" val="17566051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363" y="1303338"/>
            <a:ext cx="9672637" cy="4405312"/>
          </a:xfrm>
          <a:prstGeom prst="rect">
            <a:avLst/>
          </a:prstGeom>
          <a:solidFill>
            <a:srgbClr val="FFFFFF"/>
          </a:solidFill>
          <a:ln>
            <a:noFill/>
          </a:ln>
          <a:extLst>
            <a:ext uri="{91240B29-F687-4F45-9708-019B960494DF}">
              <a14:hiddenLine xmlns:a14="http://schemas.microsoft.com/office/drawing/2010/main" w="9525" algn="ctr">
                <a:solidFill>
                  <a:srgbClr val="000000"/>
                </a:solidFill>
                <a:miter lim="800000"/>
                <a:headEnd/>
                <a:tailEnd/>
              </a14:hiddenLine>
            </a:ext>
          </a:extLst>
        </p:spPr>
      </p:pic>
      <p:sp>
        <p:nvSpPr>
          <p:cNvPr id="32771" name="Rectangle 3"/>
          <p:cNvSpPr>
            <a:spLocks noGrp="1" noChangeArrowheads="1"/>
          </p:cNvSpPr>
          <p:nvPr>
            <p:ph type="title"/>
          </p:nvPr>
        </p:nvSpPr>
        <p:spPr/>
        <p:txBody>
          <a:bodyPr/>
          <a:lstStyle/>
          <a:p>
            <a:pPr eaLnBrk="1" hangingPunct="1"/>
            <a:r>
              <a:rPr lang="en-US" altLang="en-US" smtClean="0"/>
              <a:t>STOXX offices</a:t>
            </a:r>
          </a:p>
        </p:txBody>
      </p:sp>
      <p:sp>
        <p:nvSpPr>
          <p:cNvPr id="622" name="Rectangle 9"/>
          <p:cNvSpPr>
            <a:spLocks noChangeArrowheads="1"/>
          </p:cNvSpPr>
          <p:nvPr/>
        </p:nvSpPr>
        <p:spPr bwMode="auto">
          <a:xfrm>
            <a:off x="511175" y="1736725"/>
            <a:ext cx="2074863" cy="1303338"/>
          </a:xfrm>
          <a:prstGeom prst="rect">
            <a:avLst/>
          </a:prstGeom>
          <a:solidFill>
            <a:srgbClr val="FFFFFF">
              <a:alpha val="70000"/>
            </a:srgbClr>
          </a:solidFill>
          <a:ln w="9525" algn="ctr">
            <a:solidFill>
              <a:schemeClr val="accent3"/>
            </a:solidFill>
            <a:miter lim="800000"/>
            <a:headEnd/>
            <a:tailEnd/>
          </a:ln>
        </p:spPr>
        <p:txBody>
          <a:bodyPr lIns="72000" tIns="54000" rIns="36000" bIns="5400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600"/>
              </a:spcAft>
            </a:pPr>
            <a:r>
              <a:rPr lang="de-CH" altLang="en-US" sz="1400" b="1">
                <a:solidFill>
                  <a:srgbClr val="000000"/>
                </a:solidFill>
              </a:rPr>
              <a:t>New York</a:t>
            </a:r>
          </a:p>
          <a:p>
            <a:pPr eaLnBrk="1" hangingPunct="1"/>
            <a:r>
              <a:rPr lang="en-US" altLang="en-US" sz="1200">
                <a:solidFill>
                  <a:srgbClr val="000000"/>
                </a:solidFill>
              </a:rPr>
              <a:t>40 Fulton St., 5th Fl.</a:t>
            </a:r>
          </a:p>
          <a:p>
            <a:pPr eaLnBrk="1" hangingPunct="1"/>
            <a:r>
              <a:rPr lang="en-US" altLang="en-US" sz="1200">
                <a:solidFill>
                  <a:srgbClr val="000000"/>
                </a:solidFill>
              </a:rPr>
              <a:t>New York, NY 10038</a:t>
            </a:r>
          </a:p>
          <a:p>
            <a:pPr eaLnBrk="1" hangingPunct="1"/>
            <a:r>
              <a:rPr lang="en-US" altLang="en-US" sz="1200">
                <a:solidFill>
                  <a:srgbClr val="000000"/>
                </a:solidFill>
              </a:rPr>
              <a:t>United States</a:t>
            </a:r>
          </a:p>
          <a:p>
            <a:pPr eaLnBrk="1" hangingPunct="1"/>
            <a:r>
              <a:rPr lang="de-CH" altLang="en-US" sz="1200">
                <a:solidFill>
                  <a:srgbClr val="000000"/>
                </a:solidFill>
              </a:rPr>
              <a:t>P +1 212 669 6426</a:t>
            </a:r>
          </a:p>
          <a:p>
            <a:pPr algn="just" eaLnBrk="1" hangingPunct="1"/>
            <a:endParaRPr lang="en-US" altLang="en-US" sz="1400" b="1">
              <a:solidFill>
                <a:srgbClr val="000000"/>
              </a:solidFill>
            </a:endParaRPr>
          </a:p>
        </p:txBody>
      </p:sp>
      <p:sp>
        <p:nvSpPr>
          <p:cNvPr id="623" name="Rectangle 9"/>
          <p:cNvSpPr>
            <a:spLocks noChangeArrowheads="1"/>
          </p:cNvSpPr>
          <p:nvPr/>
        </p:nvSpPr>
        <p:spPr bwMode="auto">
          <a:xfrm>
            <a:off x="2754313" y="1736725"/>
            <a:ext cx="2074862" cy="1303338"/>
          </a:xfrm>
          <a:prstGeom prst="rect">
            <a:avLst/>
          </a:prstGeom>
          <a:solidFill>
            <a:srgbClr val="FFFFFF">
              <a:alpha val="70000"/>
            </a:srgbClr>
          </a:solidFill>
          <a:ln w="9525" algn="ctr">
            <a:solidFill>
              <a:schemeClr val="accent3"/>
            </a:solidFill>
            <a:miter lim="800000"/>
            <a:headEnd/>
            <a:tailEnd/>
          </a:ln>
        </p:spPr>
        <p:txBody>
          <a:bodyPr lIns="72000" tIns="54000" rIns="36000" bIns="5400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600"/>
              </a:spcAft>
            </a:pPr>
            <a:r>
              <a:rPr lang="de-CH" altLang="en-US" sz="1400" b="1">
                <a:solidFill>
                  <a:srgbClr val="000000"/>
                </a:solidFill>
              </a:rPr>
              <a:t>London</a:t>
            </a:r>
          </a:p>
          <a:p>
            <a:r>
              <a:rPr lang="en-US" altLang="en-US" sz="1200">
                <a:solidFill>
                  <a:srgbClr val="000000"/>
                </a:solidFill>
                <a:ea typeface="MS PGothic" pitchFamily="34" charset="-128"/>
              </a:rPr>
              <a:t>11 Westferry Circus, 1st floor</a:t>
            </a:r>
          </a:p>
          <a:p>
            <a:r>
              <a:rPr lang="en-US" altLang="en-US" sz="1200">
                <a:solidFill>
                  <a:srgbClr val="000000"/>
                </a:solidFill>
                <a:ea typeface="MS PGothic" pitchFamily="34" charset="-128"/>
              </a:rPr>
              <a:t>Canary Wharf</a:t>
            </a:r>
          </a:p>
          <a:p>
            <a:r>
              <a:rPr lang="en-US" altLang="en-US" sz="1200">
                <a:solidFill>
                  <a:srgbClr val="000000"/>
                </a:solidFill>
                <a:ea typeface="MS PGothic" pitchFamily="34" charset="-128"/>
              </a:rPr>
              <a:t>London E14 4HE</a:t>
            </a:r>
          </a:p>
          <a:p>
            <a:r>
              <a:rPr lang="en-US" altLang="en-US" sz="1200">
                <a:solidFill>
                  <a:srgbClr val="000000"/>
                </a:solidFill>
                <a:ea typeface="MS PGothic" pitchFamily="34" charset="-128"/>
              </a:rPr>
              <a:t>United Kingdom</a:t>
            </a:r>
          </a:p>
          <a:p>
            <a:r>
              <a:rPr lang="en-US" altLang="en-US" sz="1200">
                <a:solidFill>
                  <a:srgbClr val="000000"/>
                </a:solidFill>
                <a:ea typeface="MS PGothic" pitchFamily="34" charset="-128"/>
              </a:rPr>
              <a:t>P +44 (0) 207 862 7680</a:t>
            </a:r>
          </a:p>
          <a:p>
            <a:pPr algn="just" eaLnBrk="1" hangingPunct="1"/>
            <a:endParaRPr lang="en-US" altLang="en-US" sz="1400" b="1">
              <a:solidFill>
                <a:srgbClr val="000000"/>
              </a:solidFill>
            </a:endParaRPr>
          </a:p>
        </p:txBody>
      </p:sp>
      <p:sp>
        <p:nvSpPr>
          <p:cNvPr id="625" name="Rectangle 9"/>
          <p:cNvSpPr>
            <a:spLocks noChangeArrowheads="1"/>
          </p:cNvSpPr>
          <p:nvPr/>
        </p:nvSpPr>
        <p:spPr bwMode="auto">
          <a:xfrm>
            <a:off x="4991100" y="1736725"/>
            <a:ext cx="2074863" cy="1303338"/>
          </a:xfrm>
          <a:prstGeom prst="rect">
            <a:avLst/>
          </a:prstGeom>
          <a:solidFill>
            <a:srgbClr val="FFFFFF">
              <a:alpha val="70000"/>
            </a:srgbClr>
          </a:solidFill>
          <a:ln w="9525" algn="ctr">
            <a:solidFill>
              <a:schemeClr val="accent3"/>
            </a:solidFill>
            <a:miter lim="800000"/>
            <a:headEnd/>
            <a:tailEnd/>
          </a:ln>
        </p:spPr>
        <p:txBody>
          <a:bodyPr lIns="72000" tIns="54000" rIns="36000" bIns="5400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600"/>
              </a:spcAft>
            </a:pPr>
            <a:r>
              <a:rPr lang="de-CH" altLang="en-US" sz="1400" b="1">
                <a:solidFill>
                  <a:srgbClr val="000000"/>
                </a:solidFill>
              </a:rPr>
              <a:t>Hong Kong</a:t>
            </a:r>
          </a:p>
          <a:p>
            <a:pPr eaLnBrk="1" hangingPunct="1"/>
            <a:r>
              <a:rPr lang="en-US" altLang="en-US" sz="1200"/>
              <a:t>2904-7, 29/F, </a:t>
            </a:r>
          </a:p>
          <a:p>
            <a:pPr eaLnBrk="1" hangingPunct="1"/>
            <a:r>
              <a:rPr lang="en-US" altLang="en-US" sz="1200"/>
              <a:t>Man Yee Building</a:t>
            </a:r>
          </a:p>
          <a:p>
            <a:pPr eaLnBrk="1" hangingPunct="1"/>
            <a:r>
              <a:rPr lang="fr-CH" altLang="en-US" sz="1200"/>
              <a:t>68 Des Voeux Road Central, Hong Kong</a:t>
            </a:r>
            <a:endParaRPr lang="en-US" altLang="en-US" sz="1200"/>
          </a:p>
          <a:p>
            <a:r>
              <a:rPr lang="en-US" altLang="en-US" sz="1200">
                <a:solidFill>
                  <a:srgbClr val="000000"/>
                </a:solidFill>
                <a:ea typeface="MS PGothic" pitchFamily="34" charset="-128"/>
              </a:rPr>
              <a:t>P +852 6307 9316</a:t>
            </a:r>
          </a:p>
        </p:txBody>
      </p:sp>
      <p:sp>
        <p:nvSpPr>
          <p:cNvPr id="626" name="Rectangle 9"/>
          <p:cNvSpPr>
            <a:spLocks noChangeArrowheads="1"/>
          </p:cNvSpPr>
          <p:nvPr/>
        </p:nvSpPr>
        <p:spPr bwMode="auto">
          <a:xfrm>
            <a:off x="511175" y="3151188"/>
            <a:ext cx="2074863" cy="1303337"/>
          </a:xfrm>
          <a:prstGeom prst="rect">
            <a:avLst/>
          </a:prstGeom>
          <a:solidFill>
            <a:srgbClr val="FFFFFF">
              <a:alpha val="70000"/>
            </a:srgbClr>
          </a:solidFill>
          <a:ln w="9525" algn="ctr">
            <a:solidFill>
              <a:schemeClr val="accent3"/>
            </a:solidFill>
            <a:miter lim="800000"/>
            <a:headEnd/>
            <a:tailEnd/>
          </a:ln>
        </p:spPr>
        <p:txBody>
          <a:bodyPr lIns="72000" tIns="54000" rIns="36000" bIns="54000"/>
          <a:lstStyle/>
          <a:p>
            <a:pPr fontAlgn="auto">
              <a:spcBef>
                <a:spcPts val="0"/>
              </a:spcBef>
              <a:spcAft>
                <a:spcPts val="600"/>
              </a:spcAft>
              <a:defRPr/>
            </a:pPr>
            <a:r>
              <a:rPr lang="de-CH" sz="1400" b="1" kern="0" dirty="0">
                <a:solidFill>
                  <a:srgbClr val="000000"/>
                </a:solidFill>
                <a:latin typeface="+mn-lt"/>
                <a:cs typeface="+mn-cs"/>
              </a:rPr>
              <a:t>Madrid</a:t>
            </a:r>
          </a:p>
          <a:p>
            <a:pPr eaLnBrk="0" fontAlgn="auto" hangingPunct="0">
              <a:spcAft>
                <a:spcPts val="0"/>
              </a:spcAft>
              <a:defRPr/>
            </a:pPr>
            <a:r>
              <a:rPr lang="es-ES" sz="1200" dirty="0">
                <a:solidFill>
                  <a:srgbClr val="000000"/>
                </a:solidFill>
                <a:latin typeface="+mn-lt"/>
                <a:ea typeface="ＭＳ Ｐゴシック" pitchFamily="34" charset="-128"/>
                <a:cs typeface="+mn-cs"/>
              </a:rPr>
              <a:t>Paseo de la Castellana </a:t>
            </a:r>
          </a:p>
          <a:p>
            <a:pPr eaLnBrk="0" fontAlgn="auto" hangingPunct="0">
              <a:spcAft>
                <a:spcPts val="0"/>
              </a:spcAft>
              <a:defRPr/>
            </a:pPr>
            <a:r>
              <a:rPr lang="es-ES" sz="1200" dirty="0">
                <a:solidFill>
                  <a:srgbClr val="000000"/>
                </a:solidFill>
                <a:latin typeface="+mn-lt"/>
                <a:ea typeface="ＭＳ Ｐゴシック" pitchFamily="34" charset="-128"/>
                <a:cs typeface="+mn-cs"/>
              </a:rPr>
              <a:t>40 bis, planta 5</a:t>
            </a:r>
          </a:p>
          <a:p>
            <a:pPr eaLnBrk="0" fontAlgn="auto" hangingPunct="0">
              <a:spcAft>
                <a:spcPts val="0"/>
              </a:spcAft>
              <a:defRPr/>
            </a:pPr>
            <a:r>
              <a:rPr lang="es-ES" sz="1200" dirty="0">
                <a:solidFill>
                  <a:srgbClr val="000000"/>
                </a:solidFill>
                <a:latin typeface="+mn-lt"/>
                <a:ea typeface="ＭＳ Ｐゴシック" pitchFamily="34" charset="-128"/>
                <a:cs typeface="+mn-cs"/>
              </a:rPr>
              <a:t>28046 Madrid</a:t>
            </a:r>
          </a:p>
          <a:p>
            <a:pPr eaLnBrk="0" fontAlgn="auto" hangingPunct="0">
              <a:spcAft>
                <a:spcPts val="0"/>
              </a:spcAft>
              <a:defRPr/>
            </a:pPr>
            <a:r>
              <a:rPr lang="es-ES" sz="1200" dirty="0">
                <a:solidFill>
                  <a:srgbClr val="000000"/>
                </a:solidFill>
                <a:latin typeface="+mn-lt"/>
                <a:ea typeface="ＭＳ Ｐゴシック" pitchFamily="34" charset="-128"/>
                <a:cs typeface="+mn-cs"/>
              </a:rPr>
              <a:t>Spain</a:t>
            </a:r>
          </a:p>
          <a:p>
            <a:pPr eaLnBrk="0" fontAlgn="auto" hangingPunct="0">
              <a:spcAft>
                <a:spcPts val="0"/>
              </a:spcAft>
              <a:defRPr/>
            </a:pPr>
            <a:r>
              <a:rPr lang="en-US" sz="1200" dirty="0">
                <a:solidFill>
                  <a:srgbClr val="000000"/>
                </a:solidFill>
                <a:latin typeface="+mn-lt"/>
                <a:ea typeface="ＭＳ Ｐゴシック" pitchFamily="34" charset="-128"/>
                <a:cs typeface="+mn-cs"/>
              </a:rPr>
              <a:t>P +34 (0) 91 369 1229</a:t>
            </a:r>
          </a:p>
        </p:txBody>
      </p:sp>
      <p:sp>
        <p:nvSpPr>
          <p:cNvPr id="627" name="Rectangle 9"/>
          <p:cNvSpPr>
            <a:spLocks noChangeArrowheads="1"/>
          </p:cNvSpPr>
          <p:nvPr/>
        </p:nvSpPr>
        <p:spPr bwMode="auto">
          <a:xfrm>
            <a:off x="4999038" y="3151188"/>
            <a:ext cx="2074862" cy="1303337"/>
          </a:xfrm>
          <a:prstGeom prst="rect">
            <a:avLst/>
          </a:prstGeom>
          <a:solidFill>
            <a:srgbClr val="FFFFFF">
              <a:alpha val="70000"/>
            </a:srgbClr>
          </a:solidFill>
          <a:ln w="9525" algn="ctr">
            <a:solidFill>
              <a:schemeClr val="accent3"/>
            </a:solidFill>
            <a:miter lim="800000"/>
            <a:headEnd/>
            <a:tailEnd/>
          </a:ln>
        </p:spPr>
        <p:txBody>
          <a:bodyPr lIns="72000" tIns="54000" rIns="36000" bIns="54000"/>
          <a:lstStyle/>
          <a:p>
            <a:pPr fontAlgn="auto">
              <a:spcBef>
                <a:spcPts val="0"/>
              </a:spcBef>
              <a:spcAft>
                <a:spcPts val="600"/>
              </a:spcAft>
              <a:defRPr/>
            </a:pPr>
            <a:r>
              <a:rPr lang="de-CH" sz="1400" b="1" kern="0" dirty="0">
                <a:solidFill>
                  <a:srgbClr val="000000"/>
                </a:solidFill>
                <a:latin typeface="+mn-lt"/>
                <a:cs typeface="+mn-cs"/>
              </a:rPr>
              <a:t>Frankfurt</a:t>
            </a:r>
          </a:p>
          <a:p>
            <a:pPr eaLnBrk="0" fontAlgn="auto" hangingPunct="0">
              <a:spcAft>
                <a:spcPts val="0"/>
              </a:spcAft>
              <a:defRPr/>
            </a:pPr>
            <a:r>
              <a:rPr lang="de-DE" sz="1200" dirty="0">
                <a:solidFill>
                  <a:srgbClr val="000000"/>
                </a:solidFill>
                <a:latin typeface="+mn-lt"/>
                <a:ea typeface="ＭＳ Ｐゴシック" pitchFamily="34" charset="-128"/>
                <a:cs typeface="+mn-cs"/>
              </a:rPr>
              <a:t>Mergenthalerallee 61</a:t>
            </a:r>
          </a:p>
          <a:p>
            <a:pPr eaLnBrk="0" fontAlgn="auto" hangingPunct="0">
              <a:spcAft>
                <a:spcPts val="0"/>
              </a:spcAft>
              <a:defRPr/>
            </a:pPr>
            <a:r>
              <a:rPr lang="de-DE" sz="1200" dirty="0">
                <a:solidFill>
                  <a:srgbClr val="000000"/>
                </a:solidFill>
                <a:latin typeface="+mn-lt"/>
                <a:ea typeface="ＭＳ Ｐゴシック" pitchFamily="34" charset="-128"/>
                <a:cs typeface="+mn-cs"/>
              </a:rPr>
              <a:t>65760 Eschborn</a:t>
            </a:r>
          </a:p>
          <a:p>
            <a:pPr eaLnBrk="0" fontAlgn="auto" hangingPunct="0">
              <a:spcAft>
                <a:spcPts val="0"/>
              </a:spcAft>
              <a:defRPr/>
            </a:pPr>
            <a:r>
              <a:rPr lang="de-DE" sz="1200" dirty="0">
                <a:solidFill>
                  <a:srgbClr val="000000"/>
                </a:solidFill>
                <a:latin typeface="+mn-lt"/>
                <a:ea typeface="ＭＳ Ｐゴシック" pitchFamily="34" charset="-128"/>
                <a:cs typeface="+mn-cs"/>
              </a:rPr>
              <a:t>Germany</a:t>
            </a:r>
          </a:p>
          <a:p>
            <a:pPr eaLnBrk="0" fontAlgn="auto" hangingPunct="0">
              <a:spcAft>
                <a:spcPts val="0"/>
              </a:spcAft>
              <a:defRPr/>
            </a:pPr>
            <a:r>
              <a:rPr lang="en-US" sz="1200" dirty="0">
                <a:solidFill>
                  <a:srgbClr val="000000"/>
                </a:solidFill>
                <a:latin typeface="+mn-lt"/>
                <a:ea typeface="ＭＳ Ｐゴシック" pitchFamily="34" charset="-128"/>
                <a:cs typeface="+mn-cs"/>
              </a:rPr>
              <a:t>P +49 (0)69 211 0 </a:t>
            </a:r>
          </a:p>
        </p:txBody>
      </p:sp>
      <p:sp>
        <p:nvSpPr>
          <p:cNvPr id="629" name="Rectangle 9"/>
          <p:cNvSpPr>
            <a:spLocks noChangeArrowheads="1"/>
          </p:cNvSpPr>
          <p:nvPr/>
        </p:nvSpPr>
        <p:spPr bwMode="auto">
          <a:xfrm>
            <a:off x="2754313" y="3151188"/>
            <a:ext cx="2074862" cy="1303337"/>
          </a:xfrm>
          <a:prstGeom prst="rect">
            <a:avLst/>
          </a:prstGeom>
          <a:solidFill>
            <a:srgbClr val="FFFFFF">
              <a:alpha val="70000"/>
            </a:srgbClr>
          </a:solidFill>
          <a:ln w="9525" algn="ctr">
            <a:solidFill>
              <a:schemeClr val="accent3"/>
            </a:solidFill>
            <a:miter lim="800000"/>
            <a:headEnd/>
            <a:tailEnd/>
          </a:ln>
        </p:spPr>
        <p:txBody>
          <a:bodyPr lIns="72000" tIns="54000" rIns="36000" bIns="54000"/>
          <a:lstStyle/>
          <a:p>
            <a:pPr fontAlgn="auto">
              <a:spcBef>
                <a:spcPts val="0"/>
              </a:spcBef>
              <a:spcAft>
                <a:spcPts val="600"/>
              </a:spcAft>
              <a:defRPr/>
            </a:pPr>
            <a:r>
              <a:rPr lang="de-CH" sz="1400" b="1" kern="0" dirty="0">
                <a:solidFill>
                  <a:srgbClr val="000000"/>
                </a:solidFill>
                <a:latin typeface="+mn-lt"/>
                <a:cs typeface="+mn-cs"/>
              </a:rPr>
              <a:t>Zurich </a:t>
            </a:r>
            <a:r>
              <a:rPr lang="de-CH" sz="1400" kern="0" dirty="0">
                <a:solidFill>
                  <a:srgbClr val="000000"/>
                </a:solidFill>
                <a:latin typeface="+mn-lt"/>
                <a:cs typeface="+mn-cs"/>
              </a:rPr>
              <a:t>(headquarters)</a:t>
            </a:r>
          </a:p>
          <a:p>
            <a:pPr eaLnBrk="0" fontAlgn="auto" hangingPunct="0">
              <a:spcAft>
                <a:spcPts val="0"/>
              </a:spcAft>
              <a:defRPr/>
            </a:pPr>
            <a:r>
              <a:rPr lang="de-DE" sz="1200" dirty="0">
                <a:solidFill>
                  <a:srgbClr val="000000"/>
                </a:solidFill>
                <a:latin typeface="+mn-lt"/>
                <a:ea typeface="ＭＳ Ｐゴシック" pitchFamily="34" charset="-128"/>
                <a:cs typeface="+mn-cs"/>
              </a:rPr>
              <a:t>Brandschenkestrasse 47</a:t>
            </a:r>
          </a:p>
          <a:p>
            <a:pPr eaLnBrk="0" fontAlgn="auto" hangingPunct="0">
              <a:spcAft>
                <a:spcPts val="0"/>
              </a:spcAft>
              <a:defRPr/>
            </a:pPr>
            <a:r>
              <a:rPr lang="de-DE" sz="1200" dirty="0">
                <a:solidFill>
                  <a:srgbClr val="000000"/>
                </a:solidFill>
                <a:latin typeface="+mn-lt"/>
                <a:ea typeface="ＭＳ Ｐゴシック" pitchFamily="34" charset="-128"/>
                <a:cs typeface="+mn-cs"/>
              </a:rPr>
              <a:t>8002 Zurich</a:t>
            </a:r>
          </a:p>
          <a:p>
            <a:pPr eaLnBrk="0" fontAlgn="auto" hangingPunct="0">
              <a:spcAft>
                <a:spcPts val="0"/>
              </a:spcAft>
              <a:defRPr/>
            </a:pPr>
            <a:r>
              <a:rPr lang="de-DE" sz="1200" dirty="0">
                <a:solidFill>
                  <a:srgbClr val="000000"/>
                </a:solidFill>
                <a:latin typeface="+mn-lt"/>
                <a:ea typeface="ＭＳ Ｐゴシック" pitchFamily="34" charset="-128"/>
                <a:cs typeface="+mn-cs"/>
              </a:rPr>
              <a:t>Switzerland</a:t>
            </a:r>
          </a:p>
          <a:p>
            <a:pPr eaLnBrk="0" fontAlgn="auto" hangingPunct="0">
              <a:spcAft>
                <a:spcPts val="0"/>
              </a:spcAft>
              <a:defRPr/>
            </a:pPr>
            <a:r>
              <a:rPr lang="en-US" sz="1200" dirty="0">
                <a:solidFill>
                  <a:srgbClr val="000000"/>
                </a:solidFill>
                <a:latin typeface="+mn-lt"/>
                <a:ea typeface="ＭＳ Ｐゴシック" pitchFamily="34" charset="-128"/>
                <a:cs typeface="+mn-cs"/>
              </a:rPr>
              <a:t>P +41 (0) 58 399 5300</a:t>
            </a:r>
          </a:p>
        </p:txBody>
      </p:sp>
      <p:sp>
        <p:nvSpPr>
          <p:cNvPr id="630" name="Rectangle 9"/>
          <p:cNvSpPr>
            <a:spLocks noChangeArrowheads="1"/>
          </p:cNvSpPr>
          <p:nvPr/>
        </p:nvSpPr>
        <p:spPr bwMode="auto">
          <a:xfrm>
            <a:off x="7242175" y="3151188"/>
            <a:ext cx="2074863" cy="1303337"/>
          </a:xfrm>
          <a:prstGeom prst="rect">
            <a:avLst/>
          </a:prstGeom>
          <a:solidFill>
            <a:srgbClr val="FFFFFF">
              <a:alpha val="70000"/>
            </a:srgbClr>
          </a:solidFill>
          <a:ln w="9525" algn="ctr">
            <a:solidFill>
              <a:schemeClr val="accent3"/>
            </a:solidFill>
            <a:miter lim="800000"/>
            <a:headEnd/>
            <a:tailEnd/>
          </a:ln>
        </p:spPr>
        <p:txBody>
          <a:bodyPr lIns="72000" tIns="54000" rIns="36000" bIns="5400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600"/>
              </a:spcAft>
            </a:pPr>
            <a:r>
              <a:rPr lang="de-CH" altLang="en-US" sz="1400" b="1">
                <a:solidFill>
                  <a:srgbClr val="000000"/>
                </a:solidFill>
              </a:rPr>
              <a:t>Email a STOXX representative</a:t>
            </a:r>
          </a:p>
          <a:p>
            <a:r>
              <a:rPr lang="de-DE" altLang="en-US" sz="1200">
                <a:solidFill>
                  <a:srgbClr val="000000"/>
                </a:solidFill>
                <a:ea typeface="MS PGothic" pitchFamily="34" charset="-128"/>
              </a:rPr>
              <a:t>sales.enquiries@stoxx.com</a:t>
            </a:r>
            <a:endParaRPr lang="en-US" altLang="en-US" sz="1200">
              <a:solidFill>
                <a:srgbClr val="000000"/>
              </a:solidFill>
              <a:ea typeface="MS PGothic" pitchFamily="34" charset="-128"/>
            </a:endParaRPr>
          </a:p>
        </p:txBody>
      </p:sp>
    </p:spTree>
    <p:extLst>
      <p:ext uri="{BB962C8B-B14F-4D97-AF65-F5344CB8AC3E}">
        <p14:creationId xmlns:p14="http://schemas.microsoft.com/office/powerpoint/2010/main" val="25361178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Box 4"/>
          <p:cNvSpPr txBox="1">
            <a:spLocks noChangeArrowheads="1"/>
          </p:cNvSpPr>
          <p:nvPr/>
        </p:nvSpPr>
        <p:spPr bwMode="auto">
          <a:xfrm>
            <a:off x="369888" y="1338263"/>
            <a:ext cx="917575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lnSpc>
                <a:spcPct val="95000"/>
              </a:lnSpc>
              <a:buFont typeface="Arial" pitchFamily="34" charset="0"/>
              <a:defRPr sz="1600" b="1">
                <a:solidFill>
                  <a:schemeClr val="tx1"/>
                </a:solidFill>
                <a:latin typeface="Arial" pitchFamily="34" charset="0"/>
              </a:defRPr>
            </a:lvl1pPr>
            <a:lvl2pPr marL="742950" indent="-285750" eaLnBrk="0" hangingPunct="0">
              <a:lnSpc>
                <a:spcPct val="95000"/>
              </a:lnSpc>
              <a:buFont typeface="Arial" pitchFamily="34" charset="0"/>
              <a:buChar char="»"/>
              <a:defRPr sz="1600">
                <a:solidFill>
                  <a:schemeClr val="tx1"/>
                </a:solidFill>
                <a:latin typeface="Arial" pitchFamily="34" charset="0"/>
              </a:defRPr>
            </a:lvl2pPr>
            <a:lvl3pPr marL="1143000" indent="-228600" eaLnBrk="0" hangingPunct="0">
              <a:lnSpc>
                <a:spcPct val="95000"/>
              </a:lnSpc>
              <a:buFont typeface="Arial" pitchFamily="34" charset="0"/>
              <a:buChar char="»"/>
              <a:defRPr sz="1600">
                <a:solidFill>
                  <a:schemeClr val="tx1"/>
                </a:solidFill>
                <a:latin typeface="Arial" pitchFamily="34" charset="0"/>
              </a:defRPr>
            </a:lvl3pPr>
            <a:lvl4pPr marL="1600200" indent="-228600" eaLnBrk="0" hangingPunct="0">
              <a:lnSpc>
                <a:spcPct val="95000"/>
              </a:lnSpc>
              <a:buFont typeface="Arial" pitchFamily="34" charset="0"/>
              <a:buChar char="»"/>
              <a:defRPr sz="1600">
                <a:solidFill>
                  <a:schemeClr val="tx1"/>
                </a:solidFill>
                <a:latin typeface="Arial" pitchFamily="34" charset="0"/>
              </a:defRPr>
            </a:lvl4pPr>
            <a:lvl5pPr marL="2057400" indent="-228600" eaLnBrk="0" hangingPunct="0">
              <a:lnSpc>
                <a:spcPct val="95000"/>
              </a:lnSpc>
              <a:buFont typeface="Arial" pitchFamily="34" charset="0"/>
              <a:buChar char="»"/>
              <a:defRPr sz="1600">
                <a:solidFill>
                  <a:schemeClr val="tx1"/>
                </a:solidFill>
                <a:latin typeface="Arial" pitchFamily="34" charset="0"/>
              </a:defRPr>
            </a:lvl5pPr>
            <a:lvl6pPr marL="25146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6pPr>
            <a:lvl7pPr marL="29718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7pPr>
            <a:lvl8pPr marL="34290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8pPr>
            <a:lvl9pPr marL="38862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9pPr>
          </a:lstStyle>
          <a:p>
            <a:pPr eaLnBrk="1" hangingPunct="1">
              <a:lnSpc>
                <a:spcPct val="100000"/>
              </a:lnSpc>
              <a:buFontTx/>
              <a:buNone/>
            </a:pPr>
            <a:r>
              <a:rPr lang="en-US" altLang="en-US" sz="1200" b="0">
                <a:solidFill>
                  <a:srgbClr val="000000"/>
                </a:solidFill>
              </a:rPr>
              <a:t>The indices in the presentation and the trademarks used in the index names are the intellectual property of STOXX Ltd. or SIX AG or Deutsche Boerse AG. </a:t>
            </a:r>
          </a:p>
          <a:p>
            <a:pPr eaLnBrk="1" hangingPunct="1">
              <a:lnSpc>
                <a:spcPct val="100000"/>
              </a:lnSpc>
              <a:buFontTx/>
              <a:buNone/>
            </a:pPr>
            <a:r>
              <a:rPr lang="en-US" altLang="en-US" sz="1200" b="0">
                <a:solidFill>
                  <a:srgbClr val="000000"/>
                </a:solidFill>
              </a:rPr>
              <a:t>The use of the STOXX</a:t>
            </a:r>
            <a:r>
              <a:rPr lang="en-US" altLang="en-US" sz="1200" b="0" baseline="30000"/>
              <a:t>®</a:t>
            </a:r>
            <a:r>
              <a:rPr lang="en-US" altLang="en-US" sz="1200" b="0">
                <a:solidFill>
                  <a:srgbClr val="000000"/>
                </a:solidFill>
              </a:rPr>
              <a:t>, DAX</a:t>
            </a:r>
            <a:r>
              <a:rPr lang="en-US" altLang="en-US" sz="1200" b="0" baseline="30000"/>
              <a:t> ®</a:t>
            </a:r>
            <a:r>
              <a:rPr lang="en-US" altLang="en-US" sz="1200" b="0">
                <a:solidFill>
                  <a:srgbClr val="000000"/>
                </a:solidFill>
              </a:rPr>
              <a:t> and SMI</a:t>
            </a:r>
            <a:r>
              <a:rPr lang="en-US" altLang="en-US" sz="1200" b="0" baseline="30000"/>
              <a:t>®</a:t>
            </a:r>
            <a:r>
              <a:rPr lang="en-US" altLang="en-US" sz="1200" b="0">
                <a:solidFill>
                  <a:srgbClr val="000000"/>
                </a:solidFill>
              </a:rPr>
              <a:t> indices and of the respective index data for financial products or for other purposes requires a license from STOXX, Deutsche Boerse or SIX. STOXX and its owners do not make any warranties or representations, express or implied, with respect to the timeliness, sequence, accuracy, completeness, currentness, merchantability, quality or 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STOXX</a:t>
            </a:r>
            <a:r>
              <a:rPr lang="en-US" altLang="en-US" sz="1200" b="0" baseline="30000"/>
              <a:t>®</a:t>
            </a:r>
            <a:r>
              <a:rPr lang="en-US" altLang="en-US" sz="1200" b="0">
                <a:solidFill>
                  <a:srgbClr val="000000"/>
                </a:solidFill>
              </a:rPr>
              <a:t>, DAX</a:t>
            </a:r>
            <a:r>
              <a:rPr lang="en-US" altLang="en-US" sz="1200" b="0" baseline="30000"/>
              <a:t>®</a:t>
            </a:r>
            <a:r>
              <a:rPr lang="en-US" altLang="en-US" sz="1200" b="0">
                <a:solidFill>
                  <a:srgbClr val="000000"/>
                </a:solidFill>
              </a:rPr>
              <a:t> or SMI</a:t>
            </a:r>
            <a:r>
              <a:rPr lang="en-US" altLang="en-US" sz="1200" b="0" baseline="30000"/>
              <a:t>®</a:t>
            </a:r>
            <a:r>
              <a:rPr lang="en-US" altLang="en-US" sz="1200" b="0">
                <a:solidFill>
                  <a:srgbClr val="000000"/>
                </a:solidFill>
              </a:rPr>
              <a:t> indices are in no way sponsored, endorsed, sold or promoted by STOXX or its owners</a:t>
            </a:r>
            <a:r>
              <a:rPr lang="en-US" altLang="en-US" sz="900" b="0">
                <a:solidFill>
                  <a:srgbClr val="000000"/>
                </a:solidFill>
              </a:rPr>
              <a:t>.</a:t>
            </a:r>
          </a:p>
          <a:p>
            <a:pPr eaLnBrk="1" hangingPunct="1">
              <a:lnSpc>
                <a:spcPct val="100000"/>
              </a:lnSpc>
              <a:buFontTx/>
              <a:buNone/>
            </a:pPr>
            <a:endParaRPr lang="en-US" altLang="en-US" sz="900" b="0">
              <a:solidFill>
                <a:srgbClr val="000000"/>
              </a:solidFill>
            </a:endParaRPr>
          </a:p>
        </p:txBody>
      </p:sp>
      <p:sp>
        <p:nvSpPr>
          <p:cNvPr id="33795" name="Title 1"/>
          <p:cNvSpPr>
            <a:spLocks noGrp="1"/>
          </p:cNvSpPr>
          <p:nvPr>
            <p:ph type="title"/>
          </p:nvPr>
        </p:nvSpPr>
        <p:spPr/>
        <p:txBody>
          <a:bodyPr/>
          <a:lstStyle/>
          <a:p>
            <a:pPr eaLnBrk="1" hangingPunct="1"/>
            <a:r>
              <a:rPr lang="en-US" altLang="en-US" smtClean="0"/>
              <a:t>Disclaimer</a:t>
            </a:r>
          </a:p>
        </p:txBody>
      </p:sp>
      <p:sp>
        <p:nvSpPr>
          <p:cNvPr id="33796" name="Content Placeholder 2"/>
          <p:cNvSpPr>
            <a:spLocks noGrp="1"/>
          </p:cNvSpPr>
          <p:nvPr>
            <p:ph type="body" sz="quarter" idx="10"/>
          </p:nvPr>
        </p:nvSpPr>
        <p:spPr>
          <a:xfrm>
            <a:off x="368300" y="4124325"/>
            <a:ext cx="9158288" cy="1692275"/>
          </a:xfrm>
        </p:spPr>
        <p:txBody>
          <a:bodyPr>
            <a:spAutoFit/>
          </a:bodyPr>
          <a:lstStyle/>
          <a:p>
            <a:pPr marL="0" indent="0" eaLnBrk="1" hangingPunct="1">
              <a:lnSpc>
                <a:spcPct val="100000"/>
              </a:lnSpc>
              <a:spcBef>
                <a:spcPct val="0"/>
              </a:spcBef>
              <a:buFont typeface="+mj-lt"/>
              <a:buNone/>
            </a:pPr>
            <a:r>
              <a:rPr altLang="en-US" sz="1400" b="1" smtClean="0"/>
              <a:t>About STOXX</a:t>
            </a:r>
          </a:p>
          <a:p>
            <a:pPr marL="0" indent="0" eaLnBrk="1" hangingPunct="1">
              <a:lnSpc>
                <a:spcPct val="100000"/>
              </a:lnSpc>
              <a:spcBef>
                <a:spcPct val="0"/>
              </a:spcBef>
              <a:buFont typeface="+mj-lt"/>
              <a:buNone/>
            </a:pPr>
            <a:r>
              <a:rPr altLang="en-US" sz="1200" smtClean="0"/>
              <a:t>STOXX Ltd. is an established and leading index specialist, which started in Europe. The launch of the first STOXX</a:t>
            </a:r>
            <a:r>
              <a:rPr altLang="en-US" sz="1200" baseline="30000" smtClean="0"/>
              <a:t>®</a:t>
            </a:r>
            <a:r>
              <a:rPr altLang="en-US" sz="1200" smtClean="0"/>
              <a:t> indices in 1998, including the EURO STOXX 50</a:t>
            </a:r>
            <a:r>
              <a:rPr altLang="en-US" sz="1200" baseline="30000" smtClean="0"/>
              <a:t>®</a:t>
            </a:r>
            <a:r>
              <a:rPr altLang="en-US" sz="120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ct val="0"/>
              </a:spcBef>
              <a:buFont typeface="+mj-lt"/>
              <a:buNone/>
            </a:pPr>
            <a:r>
              <a:rPr altLang="en-US" sz="120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altLang="en-US" sz="1200" baseline="30000" smtClean="0"/>
              <a:t>®</a:t>
            </a:r>
            <a:r>
              <a:rPr altLang="en-US" sz="1200" smtClean="0"/>
              <a:t> and SMI</a:t>
            </a:r>
            <a:r>
              <a:rPr altLang="en-US" sz="1200" baseline="30000" smtClean="0"/>
              <a:t>®</a:t>
            </a:r>
            <a:r>
              <a:rPr altLang="en-US" sz="1200" smtClean="0"/>
              <a:t> indices.</a:t>
            </a:r>
          </a:p>
        </p:txBody>
      </p:sp>
    </p:spTree>
    <p:extLst>
      <p:ext uri="{BB962C8B-B14F-4D97-AF65-F5344CB8AC3E}">
        <p14:creationId xmlns:p14="http://schemas.microsoft.com/office/powerpoint/2010/main" val="25962708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heme/theme1.xml><?xml version="1.0" encoding="utf-8"?>
<a:theme xmlns:a="http://schemas.openxmlformats.org/drawingml/2006/main" name="STOXX®  Smart Beta Index Family Overview July 2014 Europe.pptx">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STOXX®  Smart Beta Index Family Overview July 2014 Europ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FFAA31DE-D649-4EA0-B94A-5E267C1AC751}"/>
</file>

<file path=customXml/itemProps2.xml><?xml version="1.0" encoding="utf-8"?>
<ds:datastoreItem xmlns:ds="http://schemas.openxmlformats.org/officeDocument/2006/customXml" ds:itemID="{2185470A-6D8E-493A-B23B-0445DADC414B}"/>
</file>

<file path=customXml/itemProps3.xml><?xml version="1.0" encoding="utf-8"?>
<ds:datastoreItem xmlns:ds="http://schemas.openxmlformats.org/officeDocument/2006/customXml" ds:itemID="{E96DFEC5-C571-453D-BC9A-C085F329BAAE}"/>
</file>

<file path=docProps/app.xml><?xml version="1.0" encoding="utf-8"?>
<Properties xmlns="http://schemas.openxmlformats.org/officeDocument/2006/extended-properties" xmlns:vt="http://schemas.openxmlformats.org/officeDocument/2006/docPropsVTypes">
  <Template>STOXX®  Smart Beta Index Family Overview July 2014 Europe.pptx</Template>
  <TotalTime>0</TotalTime>
  <Words>981</Words>
  <Application>Microsoft Office PowerPoint</Application>
  <PresentationFormat>A4 Paper (210x297 mm)</PresentationFormat>
  <Paragraphs>160</Paragraphs>
  <Slides>6</Slides>
  <Notes>3</Notes>
  <HiddenSlides>0</HiddenSlides>
  <MMClips>0</MMClips>
  <ScaleCrop>false</ScaleCrop>
  <HeadingPairs>
    <vt:vector size="4" baseType="variant">
      <vt:variant>
        <vt:lpstr>Theme</vt:lpstr>
      </vt:variant>
      <vt:variant>
        <vt:i4>2</vt:i4>
      </vt:variant>
      <vt:variant>
        <vt:lpstr>Slide Titles</vt:lpstr>
      </vt:variant>
      <vt:variant>
        <vt:i4>6</vt:i4>
      </vt:variant>
    </vt:vector>
  </HeadingPairs>
  <TitlesOfParts>
    <vt:vector size="8" baseType="lpstr">
      <vt:lpstr>STOXX®  Smart Beta Index Family Overview July 2014 Europe.pptx</vt:lpstr>
      <vt:lpstr>STOXX®  Smart Beta Index Family Overview July 2014 Europe</vt:lpstr>
      <vt:lpstr>STOXX®  SELECT DIVIDEND INDEX OVERVIEW </vt:lpstr>
      <vt:lpstr>The STOXX Select Dividend index family offers investors the ideal tool to track high dividend-yielding companies.</vt:lpstr>
      <vt:lpstr>Index risk and return characteristics</vt:lpstr>
      <vt:lpstr>Index fundamental characteristics</vt:lpstr>
      <vt:lpstr>STOXX office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Smart Beta Index Family Overview (abridged version)</dc:title>
  <dc:creator>Gackstatter, Christoph</dc:creator>
  <cp:lastModifiedBy>Granell, Antonio</cp:lastModifiedBy>
  <cp:revision>65</cp:revision>
  <cp:lastPrinted>2014-05-15T13:54:22Z</cp:lastPrinted>
  <dcterms:created xsi:type="dcterms:W3CDTF">2014-08-05T17:04:36Z</dcterms:created>
  <dcterms:modified xsi:type="dcterms:W3CDTF">2014-12-01T10:4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